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27" r:id="rId2"/>
  </p:sldMasterIdLst>
  <p:notesMasterIdLst>
    <p:notesMasterId r:id="rId11"/>
  </p:notesMasterIdLst>
  <p:sldIdLst>
    <p:sldId id="280" r:id="rId3"/>
    <p:sldId id="283" r:id="rId4"/>
    <p:sldId id="284" r:id="rId5"/>
    <p:sldId id="287" r:id="rId6"/>
    <p:sldId id="278" r:id="rId7"/>
    <p:sldId id="285" r:id="rId8"/>
    <p:sldId id="286" r:id="rId9"/>
    <p:sldId id="282" r:id="rId10"/>
  </p:sldIdLst>
  <p:sldSz cx="12192000" cy="6858000"/>
  <p:notesSz cx="7004050" cy="92964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Pablo Roa Rodriguez" initials="JPRR" lastIdx="1" clrIdx="0">
    <p:extLst>
      <p:ext uri="{19B8F6BF-5375-455C-9EA6-DF929625EA0E}">
        <p15:presenceInfo xmlns:p15="http://schemas.microsoft.com/office/powerpoint/2012/main" userId="S::jroa@ani.gov.co::b7e9185e-c0db-454f-bc9f-6d67e6728b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">
    <a:wholeTbl>
      <a:tcTxStyle>
        <a:font>
          <a:latin typeface="+mn-lt"/>
          <a:ea typeface="+mn-ea"/>
          <a:cs typeface="+mn-cs"/>
        </a:font>
        <a:srgbClr val="000000"/>
      </a:tcTxStyle>
      <a:tcStyle>
        <a:tcBdr>
          <a:left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  <a:band1H>
      <a:tcStyle>
        <a:tcBdr/>
        <a:fill>
          <a:solidFill>
            <a:srgbClr val="A5A5A5"/>
          </a:solidFill>
        </a:fill>
      </a:tcStyle>
    </a:band1H>
    <a:band1V>
      <a:tcStyle>
        <a:tcBdr/>
        <a:fill>
          <a:solidFill>
            <a:srgbClr val="A5A5A5"/>
          </a:solidFill>
        </a:fill>
      </a:tcStyle>
    </a:band1V>
    <a:lastCol>
      <a:tcTxStyle b="on">
        <a:font>
          <a:latin typeface=""/>
          <a:ea typeface=""/>
          <a:cs typeface=""/>
        </a:font>
      </a:tcTxStyle>
      <a:tcStyle>
        <a:tcBdr/>
      </a:tcStyle>
    </a:lastCol>
    <a:firstCol>
      <a:tcTxStyle b="on">
        <a:font>
          <a:latin typeface=""/>
          <a:ea typeface=""/>
          <a:cs typeface=""/>
        </a:font>
      </a:tcTxStyle>
      <a:tcStyle>
        <a:tcBdr/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50804" cap="flat" cmpd="dbl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>
        <a:font>
          <a:latin typeface=""/>
          <a:ea typeface=""/>
          <a:cs typeface=""/>
        </a:font>
      </a:tcTxStyle>
      <a:tcStyle>
        <a:tcBdr>
          <a:bottom>
            <a:ln w="25402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09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6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Libro1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1661096580140105E-2"/>
          <c:w val="0.97411855572648265"/>
          <c:h val="0.79129997721036083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E$16</c:f>
              <c:strCache>
                <c:ptCount val="1"/>
                <c:pt idx="0">
                  <c:v>Modo Carreter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15D-46AB-97F4-B4CA64AEEE8B}"/>
              </c:ext>
            </c:extLst>
          </c:dPt>
          <c:dLbls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3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15D-46AB-97F4-B4CA64AEEE8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/>
                      <a:t>1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15D-46AB-97F4-B4CA64AEEE8B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15D-46AB-97F4-B4CA64AEEE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F$15:$I$15</c:f>
              <c:strCache>
                <c:ptCount val="4"/>
                <c:pt idx="0">
                  <c:v>Inicio de Estructuración </c:v>
                </c:pt>
                <c:pt idx="1">
                  <c:v>Aprobacion de Prefactibilidad</c:v>
                </c:pt>
                <c:pt idx="2">
                  <c:v>Proyectos Rechazados </c:v>
                </c:pt>
                <c:pt idx="3">
                  <c:v>Factibilidad
En Estudios Avanzados </c:v>
                </c:pt>
              </c:strCache>
            </c:strRef>
          </c:cat>
          <c:val>
            <c:numRef>
              <c:f>Hoja1!$F$16:$I$16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18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1B-4DD8-A74E-07BF61674623}"/>
            </c:ext>
          </c:extLst>
        </c:ser>
        <c:ser>
          <c:idx val="1"/>
          <c:order val="1"/>
          <c:tx>
            <c:strRef>
              <c:f>Hoja1!$E$17</c:f>
              <c:strCache>
                <c:ptCount val="1"/>
                <c:pt idx="0">
                  <c:v>Modo Aeroportuario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615D-46AB-97F4-B4CA64AEEE8B}"/>
              </c:ext>
            </c:extLst>
          </c:dPt>
          <c:dLbls>
            <c:dLbl>
              <c:idx val="3"/>
              <c:tx>
                <c:rich>
                  <a:bodyPr/>
                  <a:lstStyle/>
                  <a:p>
                    <a:r>
                      <a:rPr lang="en-US"/>
                      <a:t>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15D-46AB-97F4-B4CA64AEEE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F$15:$I$15</c:f>
              <c:strCache>
                <c:ptCount val="4"/>
                <c:pt idx="0">
                  <c:v>Inicio de Estructuración </c:v>
                </c:pt>
                <c:pt idx="1">
                  <c:v>Aprobacion de Prefactibilidad</c:v>
                </c:pt>
                <c:pt idx="2">
                  <c:v>Proyectos Rechazados </c:v>
                </c:pt>
                <c:pt idx="3">
                  <c:v>Factibilidad
En Estudios Avanzados </c:v>
                </c:pt>
              </c:strCache>
            </c:strRef>
          </c:cat>
          <c:val>
            <c:numRef>
              <c:f>Hoja1!$F$17:$I$17</c:f>
              <c:numCache>
                <c:formatCode>General</c:formatCode>
                <c:ptCount val="4"/>
                <c:pt idx="0">
                  <c:v>1</c:v>
                </c:pt>
                <c:pt idx="1">
                  <c:v>3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1B-4DD8-A74E-07BF61674623}"/>
            </c:ext>
          </c:extLst>
        </c:ser>
        <c:ser>
          <c:idx val="2"/>
          <c:order val="2"/>
          <c:tx>
            <c:strRef>
              <c:f>Hoja1!$E$18</c:f>
              <c:strCache>
                <c:ptCount val="1"/>
                <c:pt idx="0">
                  <c:v>Modo Ferre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615D-46AB-97F4-B4CA64AEEE8B}"/>
              </c:ext>
            </c:extLst>
          </c:dPt>
          <c:dLbls>
            <c:dLbl>
              <c:idx val="1"/>
              <c:layout>
                <c:manualLayout>
                  <c:x val="-4.3135242153864096E-17"/>
                  <c:y val="-1.0773306224188522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6</a:t>
                    </a:r>
                    <a:r>
                      <a:rPr lang="en-US" b="1" baseline="0" dirty="0"/>
                      <a:t> Proyectos</a:t>
                    </a:r>
                    <a:endParaRPr lang="en-US" b="1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15D-46AB-97F4-B4CA64AEEE8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F$15:$I$15</c:f>
              <c:strCache>
                <c:ptCount val="4"/>
                <c:pt idx="0">
                  <c:v>Inicio de Estructuración </c:v>
                </c:pt>
                <c:pt idx="1">
                  <c:v>Aprobacion de Prefactibilidad</c:v>
                </c:pt>
                <c:pt idx="2">
                  <c:v>Proyectos Rechazados </c:v>
                </c:pt>
                <c:pt idx="3">
                  <c:v>Factibilidad
En Estudios Avanzados </c:v>
                </c:pt>
              </c:strCache>
            </c:strRef>
          </c:cat>
          <c:val>
            <c:numRef>
              <c:f>Hoja1!$F$18:$I$18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2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1B-4DD8-A74E-07BF61674623}"/>
            </c:ext>
          </c:extLst>
        </c:ser>
        <c:ser>
          <c:idx val="3"/>
          <c:order val="3"/>
          <c:tx>
            <c:strRef>
              <c:f>Hoja1!$E$19</c:f>
              <c:strCache>
                <c:ptCount val="1"/>
                <c:pt idx="0">
                  <c:v>Modo Logístic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F1B-4DD8-A74E-07BF61674623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F1B-4DD8-A74E-07BF6167462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F1B-4DD8-A74E-07BF6167462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F$15:$I$15</c:f>
              <c:strCache>
                <c:ptCount val="4"/>
                <c:pt idx="0">
                  <c:v>Inicio de Estructuración </c:v>
                </c:pt>
                <c:pt idx="1">
                  <c:v>Aprobacion de Prefactibilidad</c:v>
                </c:pt>
                <c:pt idx="2">
                  <c:v>Proyectos Rechazados </c:v>
                </c:pt>
                <c:pt idx="3">
                  <c:v>Factibilidad
En Estudios Avanzados </c:v>
                </c:pt>
              </c:strCache>
            </c:strRef>
          </c:cat>
          <c:val>
            <c:numRef>
              <c:f>Hoja1!$F$19:$I$19</c:f>
              <c:numCache>
                <c:formatCode>General</c:formatCode>
                <c:ptCount val="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F1B-4DD8-A74E-07BF616746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37903072"/>
        <c:axId val="437893560"/>
      </c:barChart>
      <c:catAx>
        <c:axId val="4379030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437893560"/>
        <c:crosses val="autoZero"/>
        <c:auto val="1"/>
        <c:lblAlgn val="ctr"/>
        <c:lblOffset val="100"/>
        <c:noMultiLvlLbl val="0"/>
      </c:catAx>
      <c:valAx>
        <c:axId val="4378935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37903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2400"/>
              <a:t>En Gestión de Aprobaciones</a:t>
            </a:r>
          </a:p>
        </c:rich>
      </c:tx>
      <c:layout>
        <c:manualLayout>
          <c:xMode val="edge"/>
          <c:yMode val="edge"/>
          <c:x val="0.30965001067444081"/>
          <c:y val="5.80207156999932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D51-441D-8675-FFB05072D972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ED51-441D-8675-FFB05072D9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E$2:$E$3</c:f>
              <c:strCache>
                <c:ptCount val="2"/>
                <c:pt idx="0">
                  <c:v>Modo Aeroportuario</c:v>
                </c:pt>
                <c:pt idx="1">
                  <c:v>Modo Carretero</c:v>
                </c:pt>
              </c:strCache>
            </c:strRef>
          </c:cat>
          <c:val>
            <c:numRef>
              <c:f>Hoja1!$F$2:$F$3</c:f>
              <c:numCache>
                <c:formatCode>General</c:formatCode>
                <c:ptCount val="2"/>
                <c:pt idx="0">
                  <c:v>4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51-441D-8675-FFB05072D97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D51-441D-8675-FFB05072D972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ED51-441D-8675-FFB05072D9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E$2:$E$3</c:f>
              <c:strCache>
                <c:ptCount val="2"/>
                <c:pt idx="0">
                  <c:v>Modo Aeroportuario</c:v>
                </c:pt>
                <c:pt idx="1">
                  <c:v>Modo Carretero</c:v>
                </c:pt>
              </c:strCache>
            </c:strRef>
          </c:cat>
          <c:val>
            <c:numRef>
              <c:f>Hoja1!$G$2:$G$3</c:f>
              <c:numCache>
                <c:formatCode>General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51-441D-8675-FFB05072D97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437897168"/>
        <c:axId val="437897496"/>
      </c:barChart>
      <c:catAx>
        <c:axId val="437897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437897496"/>
        <c:crosses val="autoZero"/>
        <c:auto val="1"/>
        <c:lblAlgn val="ctr"/>
        <c:lblOffset val="100"/>
        <c:noMultiLvlLbl val="0"/>
      </c:catAx>
      <c:valAx>
        <c:axId val="43789749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3789716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2800" b="1" i="0" baseline="0" dirty="0">
                <a:effectLst/>
              </a:rPr>
              <a:t>Solicitudes tramitadas</a:t>
            </a:r>
            <a:endParaRPr lang="es-CO" sz="28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title>
    <c:autoTitleDeleted val="0"/>
    <c:plotArea>
      <c:layout>
        <c:manualLayout>
          <c:layoutTarget val="inner"/>
          <c:xMode val="edge"/>
          <c:yMode val="edge"/>
          <c:x val="2.6883693109789848E-2"/>
          <c:y val="0.13600414285878107"/>
          <c:w val="0.95044056992875892"/>
          <c:h val="0.7247367971135512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E$7</c:f>
              <c:strCache>
                <c:ptCount val="1"/>
                <c:pt idx="0">
                  <c:v>Solicitudes Rechazada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1AB-4E7A-9DF6-34A11192DEF6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91AB-4E7A-9DF6-34A11192DEF6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91AB-4E7A-9DF6-34A11192DEF6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91AB-4E7A-9DF6-34A11192D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F$7:$H$7</c:f>
              <c:numCache>
                <c:formatCode>General</c:formatCode>
                <c:ptCount val="3"/>
                <c:pt idx="0">
                  <c:v>7</c:v>
                </c:pt>
                <c:pt idx="1">
                  <c:v>7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1AB-4E7A-9DF6-34A11192DEF6}"/>
            </c:ext>
          </c:extLst>
        </c:ser>
        <c:ser>
          <c:idx val="1"/>
          <c:order val="1"/>
          <c:tx>
            <c:strRef>
              <c:f>Hoja1!$E$8</c:f>
              <c:strCache>
                <c:ptCount val="1"/>
                <c:pt idx="0">
                  <c:v>Solicitudes con observaciones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1AB-4E7A-9DF6-34A11192DEF6}"/>
              </c:ext>
            </c:extLst>
          </c:dPt>
          <c:dPt>
            <c:idx val="2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1AB-4E7A-9DF6-34A11192DE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91AB-4E7A-9DF6-34A11192DEF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657-48CD-A9A5-DB197909D6C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91AB-4E7A-9DF6-34A11192D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F$8:$H$8</c:f>
              <c:numCache>
                <c:formatCode>General</c:formatCode>
                <c:ptCount val="3"/>
                <c:pt idx="0">
                  <c:v>3</c:v>
                </c:pt>
                <c:pt idx="1">
                  <c:v>3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AB-4E7A-9DF6-34A11192DEF6}"/>
            </c:ext>
          </c:extLst>
        </c:ser>
        <c:ser>
          <c:idx val="2"/>
          <c:order val="2"/>
          <c:tx>
            <c:strRef>
              <c:f>Hoja1!$E$9</c:f>
              <c:strCache>
                <c:ptCount val="1"/>
                <c:pt idx="0">
                  <c:v>Solicitudes Nueva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1AB-4E7A-9DF6-34A11192DEF6}"/>
              </c:ext>
            </c:extLst>
          </c:dPt>
          <c:dPt>
            <c:idx val="1"/>
            <c:invertIfNegative val="0"/>
            <c:bubble3D val="0"/>
            <c:spPr>
              <a:noFill/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91AB-4E7A-9DF6-34A11192DEF6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91AB-4E7A-9DF6-34A11192DEF6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91AB-4E7A-9DF6-34A11192D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F$9:$H$9</c:f>
              <c:numCache>
                <c:formatCode>General</c:formatCode>
                <c:ptCount val="3"/>
                <c:pt idx="0">
                  <c:v>3</c:v>
                </c:pt>
                <c:pt idx="1">
                  <c:v>3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AB-4E7A-9DF6-34A11192D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25889408"/>
        <c:axId val="425885472"/>
      </c:barChart>
      <c:catAx>
        <c:axId val="425889408"/>
        <c:scaling>
          <c:orientation val="minMax"/>
        </c:scaling>
        <c:delete val="1"/>
        <c:axPos val="b"/>
        <c:majorTickMark val="none"/>
        <c:minorTickMark val="none"/>
        <c:tickLblPos val="nextTo"/>
        <c:crossAx val="425885472"/>
        <c:crosses val="autoZero"/>
        <c:auto val="1"/>
        <c:lblAlgn val="ctr"/>
        <c:lblOffset val="100"/>
        <c:noMultiLvlLbl val="0"/>
      </c:catAx>
      <c:valAx>
        <c:axId val="4258854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25889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C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C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r">
              <a:defRPr sz="1200"/>
            </a:lvl1pPr>
          </a:lstStyle>
          <a:p>
            <a:fld id="{484E4271-3769-4C9D-A8A5-E96C1BECE772}" type="datetimeFigureOut">
              <a:rPr lang="es-CO" smtClean="0"/>
              <a:t>9/11/2018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41" tIns="46570" rIns="93141" bIns="4657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0405" y="4473892"/>
            <a:ext cx="5603240" cy="3660458"/>
          </a:xfrm>
          <a:prstGeom prst="rect">
            <a:avLst/>
          </a:prstGeom>
        </p:spPr>
        <p:txBody>
          <a:bodyPr vert="horz" lIns="93141" tIns="46570" rIns="93141" bIns="4657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67341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r">
              <a:defRPr sz="1200"/>
            </a:lvl1pPr>
          </a:lstStyle>
          <a:p>
            <a:fld id="{F7378F42-7B19-4DD0-8872-5A58D8CC148C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2675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4.png"/><Relationship Id="rId2" Type="http://schemas.openxmlformats.org/officeDocument/2006/relationships/tags" Target="../tags/tag1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2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image" Target="../media/image3.jpeg"/><Relationship Id="rId5" Type="http://schemas.openxmlformats.org/officeDocument/2006/relationships/tags" Target="../tags/tag25.xml"/><Relationship Id="rId10" Type="http://schemas.openxmlformats.org/officeDocument/2006/relationships/image" Target="../media/image2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8.jpe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image" Target="../media/image2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jpeg"/><Relationship Id="rId2" Type="http://schemas.openxmlformats.org/officeDocument/2006/relationships/tags" Target="../tags/tag35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image" Target="../media/image4.png"/><Relationship Id="rId2" Type="http://schemas.openxmlformats.org/officeDocument/2006/relationships/tags" Target="../tags/tag47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2.emf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5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image" Target="../media/image2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0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4.png"/><Relationship Id="rId2" Type="http://schemas.openxmlformats.org/officeDocument/2006/relationships/tags" Target="../tags/tag65.xml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image" Target="../media/image3.jpeg"/><Relationship Id="rId5" Type="http://schemas.openxmlformats.org/officeDocument/2006/relationships/tags" Target="../tags/tag68.xml"/><Relationship Id="rId10" Type="http://schemas.openxmlformats.org/officeDocument/2006/relationships/image" Target="../media/image2.emf"/><Relationship Id="rId4" Type="http://schemas.openxmlformats.org/officeDocument/2006/relationships/tags" Target="../tags/tag67.xml"/><Relationship Id="rId9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10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0.xml"/><Relationship Id="rId11" Type="http://schemas.openxmlformats.org/officeDocument/2006/relationships/image" Target="../media/image7.png"/><Relationship Id="rId5" Type="http://schemas.openxmlformats.org/officeDocument/2006/relationships/tags" Target="../tags/tag79.xml"/><Relationship Id="rId10" Type="http://schemas.openxmlformats.org/officeDocument/2006/relationships/image" Target="../media/image2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5.png"/><Relationship Id="rId21" Type="http://schemas.openxmlformats.org/officeDocument/2006/relationships/image" Target="../media/image30.png"/><Relationship Id="rId42" Type="http://schemas.openxmlformats.org/officeDocument/2006/relationships/image" Target="../media/image51.png"/><Relationship Id="rId47" Type="http://schemas.openxmlformats.org/officeDocument/2006/relationships/image" Target="../media/image56.png"/><Relationship Id="rId63" Type="http://schemas.openxmlformats.org/officeDocument/2006/relationships/image" Target="../media/image72.png"/><Relationship Id="rId68" Type="http://schemas.openxmlformats.org/officeDocument/2006/relationships/image" Target="../media/image77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29" Type="http://schemas.openxmlformats.org/officeDocument/2006/relationships/image" Target="../media/image38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37" Type="http://schemas.openxmlformats.org/officeDocument/2006/relationships/image" Target="../media/image46.png"/><Relationship Id="rId40" Type="http://schemas.openxmlformats.org/officeDocument/2006/relationships/image" Target="../media/image49.png"/><Relationship Id="rId45" Type="http://schemas.openxmlformats.org/officeDocument/2006/relationships/image" Target="../media/image54.png"/><Relationship Id="rId53" Type="http://schemas.openxmlformats.org/officeDocument/2006/relationships/image" Target="../media/image62.png"/><Relationship Id="rId58" Type="http://schemas.openxmlformats.org/officeDocument/2006/relationships/image" Target="../media/image67.png"/><Relationship Id="rId66" Type="http://schemas.openxmlformats.org/officeDocument/2006/relationships/image" Target="../media/image75.png"/><Relationship Id="rId74" Type="http://schemas.openxmlformats.org/officeDocument/2006/relationships/image" Target="../media/image83.png"/><Relationship Id="rId5" Type="http://schemas.openxmlformats.org/officeDocument/2006/relationships/image" Target="../media/image14.png"/><Relationship Id="rId61" Type="http://schemas.openxmlformats.org/officeDocument/2006/relationships/image" Target="../media/image70.png"/><Relationship Id="rId19" Type="http://schemas.openxmlformats.org/officeDocument/2006/relationships/image" Target="../media/image2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Relationship Id="rId35" Type="http://schemas.openxmlformats.org/officeDocument/2006/relationships/image" Target="../media/image44.png"/><Relationship Id="rId43" Type="http://schemas.openxmlformats.org/officeDocument/2006/relationships/image" Target="../media/image52.png"/><Relationship Id="rId48" Type="http://schemas.openxmlformats.org/officeDocument/2006/relationships/image" Target="../media/image57.png"/><Relationship Id="rId56" Type="http://schemas.openxmlformats.org/officeDocument/2006/relationships/image" Target="../media/image65.png"/><Relationship Id="rId64" Type="http://schemas.openxmlformats.org/officeDocument/2006/relationships/image" Target="../media/image73.png"/><Relationship Id="rId69" Type="http://schemas.openxmlformats.org/officeDocument/2006/relationships/image" Target="../media/image78.png"/><Relationship Id="rId8" Type="http://schemas.openxmlformats.org/officeDocument/2006/relationships/image" Target="../media/image17.png"/><Relationship Id="rId51" Type="http://schemas.openxmlformats.org/officeDocument/2006/relationships/image" Target="../media/image60.png"/><Relationship Id="rId72" Type="http://schemas.openxmlformats.org/officeDocument/2006/relationships/image" Target="../media/image81.png"/><Relationship Id="rId3" Type="http://schemas.openxmlformats.org/officeDocument/2006/relationships/image" Target="../media/image12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33" Type="http://schemas.openxmlformats.org/officeDocument/2006/relationships/image" Target="../media/image42.png"/><Relationship Id="rId38" Type="http://schemas.openxmlformats.org/officeDocument/2006/relationships/image" Target="../media/image47.png"/><Relationship Id="rId46" Type="http://schemas.openxmlformats.org/officeDocument/2006/relationships/image" Target="../media/image55.png"/><Relationship Id="rId59" Type="http://schemas.openxmlformats.org/officeDocument/2006/relationships/image" Target="../media/image68.png"/><Relationship Id="rId67" Type="http://schemas.openxmlformats.org/officeDocument/2006/relationships/image" Target="../media/image76.png"/><Relationship Id="rId20" Type="http://schemas.openxmlformats.org/officeDocument/2006/relationships/image" Target="../media/image29.png"/><Relationship Id="rId41" Type="http://schemas.openxmlformats.org/officeDocument/2006/relationships/image" Target="../media/image50.png"/><Relationship Id="rId54" Type="http://schemas.openxmlformats.org/officeDocument/2006/relationships/image" Target="../media/image63.png"/><Relationship Id="rId62" Type="http://schemas.openxmlformats.org/officeDocument/2006/relationships/image" Target="../media/image71.png"/><Relationship Id="rId70" Type="http://schemas.openxmlformats.org/officeDocument/2006/relationships/image" Target="../media/image79.png"/><Relationship Id="rId75" Type="http://schemas.openxmlformats.org/officeDocument/2006/relationships/image" Target="../media/image8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36" Type="http://schemas.openxmlformats.org/officeDocument/2006/relationships/image" Target="../media/image45.png"/><Relationship Id="rId49" Type="http://schemas.openxmlformats.org/officeDocument/2006/relationships/image" Target="../media/image58.png"/><Relationship Id="rId57" Type="http://schemas.openxmlformats.org/officeDocument/2006/relationships/image" Target="../media/image66.png"/><Relationship Id="rId10" Type="http://schemas.openxmlformats.org/officeDocument/2006/relationships/image" Target="../media/image19.png"/><Relationship Id="rId31" Type="http://schemas.openxmlformats.org/officeDocument/2006/relationships/image" Target="../media/image40.png"/><Relationship Id="rId44" Type="http://schemas.openxmlformats.org/officeDocument/2006/relationships/image" Target="../media/image53.png"/><Relationship Id="rId52" Type="http://schemas.openxmlformats.org/officeDocument/2006/relationships/image" Target="../media/image61.png"/><Relationship Id="rId60" Type="http://schemas.openxmlformats.org/officeDocument/2006/relationships/image" Target="../media/image69.png"/><Relationship Id="rId65" Type="http://schemas.openxmlformats.org/officeDocument/2006/relationships/image" Target="../media/image74.png"/><Relationship Id="rId73" Type="http://schemas.openxmlformats.org/officeDocument/2006/relationships/image" Target="../media/image82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9" Type="http://schemas.openxmlformats.org/officeDocument/2006/relationships/image" Target="../media/image48.png"/><Relationship Id="rId34" Type="http://schemas.openxmlformats.org/officeDocument/2006/relationships/image" Target="../media/image43.png"/><Relationship Id="rId50" Type="http://schemas.openxmlformats.org/officeDocument/2006/relationships/image" Target="../media/image59.png"/><Relationship Id="rId55" Type="http://schemas.openxmlformats.org/officeDocument/2006/relationships/image" Target="../media/image64.png"/><Relationship Id="rId7" Type="http://schemas.openxmlformats.org/officeDocument/2006/relationships/image" Target="../media/image16.png"/><Relationship Id="rId71" Type="http://schemas.openxmlformats.org/officeDocument/2006/relationships/image" Target="../media/image8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153443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89916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594389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6144742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0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5"/>
            <a:ext cx="10317699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923984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7595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358608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27052" y="6494406"/>
            <a:ext cx="2677581" cy="13500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pPr defTabSz="1219110"/>
            <a:r>
              <a:rPr lang="en-GB">
                <a:solidFill>
                  <a:prstClr val="black"/>
                </a:solidFill>
              </a:rPr>
              <a:t>31/03/2017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5251" y="6498173"/>
            <a:ext cx="2679700" cy="1357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pPr defTabSz="1219110"/>
            <a:fld id="{2490C926-4C7A-4456-B603-8FB00524CD8E}" type="slidenum">
              <a:rPr lang="en-GB" smtClean="0">
                <a:solidFill>
                  <a:prstClr val="black"/>
                </a:solidFill>
              </a:rPr>
              <a:pPr defTabSz="1219110"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6653" y="414963"/>
            <a:ext cx="11128299" cy="390453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933" b="1" baseline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6653" y="908480"/>
            <a:ext cx="11128299" cy="355059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27051" y="1568453"/>
            <a:ext cx="11137900" cy="4684183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spcAft>
                <a:spcPts val="800"/>
              </a:spcAft>
              <a:defRPr sz="2133"/>
            </a:lvl1pPr>
            <a:lvl2pPr>
              <a:spcBef>
                <a:spcPts val="400"/>
              </a:spcBef>
              <a:spcAft>
                <a:spcPts val="800"/>
              </a:spcAft>
              <a:defRPr sz="1867"/>
            </a:lvl2pPr>
            <a:lvl3pPr>
              <a:spcBef>
                <a:spcPts val="400"/>
              </a:spcBef>
              <a:spcAft>
                <a:spcPts val="800"/>
              </a:spcAft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0077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539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922315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67194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5"/>
            <a:ext cx="10317699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98195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33257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81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386295"/>
                </a:solidFill>
              </a:rPr>
              <a:pPr>
                <a:defRPr/>
              </a:pPr>
              <a:t>9/11/2018</a:t>
            </a:fld>
            <a:endParaRPr lang="es-CO" dirty="0">
              <a:solidFill>
                <a:srgbClr val="386295"/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386295"/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386295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38629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625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9" y="982473"/>
            <a:ext cx="265907" cy="60369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323" b="1" spc="46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4" y="404784"/>
            <a:ext cx="273921" cy="66050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92" b="1" spc="46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9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684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70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9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4665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9564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64586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06636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366570" y="238091"/>
            <a:ext cx="9459259" cy="6382183"/>
          </a:xfrm>
          <a:custGeom>
            <a:avLst/>
            <a:gdLst/>
            <a:ahLst/>
            <a:cxnLst/>
            <a:rect l="l" t="t" r="r" b="b"/>
            <a:pathLst>
              <a:path w="12060555" h="9360535">
                <a:moveTo>
                  <a:pt x="12059983" y="9360001"/>
                </a:moveTo>
                <a:lnTo>
                  <a:pt x="0" y="9360001"/>
                </a:lnTo>
                <a:lnTo>
                  <a:pt x="0" y="0"/>
                </a:lnTo>
                <a:lnTo>
                  <a:pt x="12059983" y="0"/>
                </a:lnTo>
                <a:lnTo>
                  <a:pt x="12059983" y="9360001"/>
                </a:lnTo>
                <a:close/>
              </a:path>
            </a:pathLst>
          </a:custGeom>
          <a:solidFill>
            <a:srgbClr val="F1F2F2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" name="bk object 17"/>
          <p:cNvSpPr/>
          <p:nvPr/>
        </p:nvSpPr>
        <p:spPr>
          <a:xfrm>
            <a:off x="4293098" y="3240959"/>
            <a:ext cx="3605804" cy="196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" name="bk object 18"/>
          <p:cNvSpPr/>
          <p:nvPr/>
        </p:nvSpPr>
        <p:spPr>
          <a:xfrm>
            <a:off x="7575784" y="5853615"/>
            <a:ext cx="145427" cy="244186"/>
          </a:xfrm>
          <a:custGeom>
            <a:avLst/>
            <a:gdLst/>
            <a:ahLst/>
            <a:cxnLst/>
            <a:rect l="l" t="t" r="r" b="b"/>
            <a:pathLst>
              <a:path w="185420" h="358140">
                <a:moveTo>
                  <a:pt x="55930" y="0"/>
                </a:moveTo>
                <a:lnTo>
                  <a:pt x="0" y="0"/>
                </a:lnTo>
                <a:lnTo>
                  <a:pt x="0" y="357974"/>
                </a:lnTo>
                <a:lnTo>
                  <a:pt x="56349" y="357974"/>
                </a:lnTo>
                <a:lnTo>
                  <a:pt x="56349" y="161404"/>
                </a:lnTo>
                <a:lnTo>
                  <a:pt x="115428" y="161404"/>
                </a:lnTo>
                <a:lnTo>
                  <a:pt x="55930" y="0"/>
                </a:lnTo>
                <a:close/>
              </a:path>
              <a:path w="185420" h="358140">
                <a:moveTo>
                  <a:pt x="115428" y="161404"/>
                </a:moveTo>
                <a:lnTo>
                  <a:pt x="56349" y="161404"/>
                </a:lnTo>
                <a:lnTo>
                  <a:pt x="128930" y="357974"/>
                </a:lnTo>
                <a:lnTo>
                  <a:pt x="185420" y="357974"/>
                </a:lnTo>
                <a:lnTo>
                  <a:pt x="185420" y="198031"/>
                </a:lnTo>
                <a:lnTo>
                  <a:pt x="128930" y="198031"/>
                </a:lnTo>
                <a:lnTo>
                  <a:pt x="115428" y="161404"/>
                </a:lnTo>
                <a:close/>
              </a:path>
              <a:path w="185420" h="358140">
                <a:moveTo>
                  <a:pt x="185420" y="0"/>
                </a:moveTo>
                <a:lnTo>
                  <a:pt x="128930" y="0"/>
                </a:lnTo>
                <a:lnTo>
                  <a:pt x="128930" y="198031"/>
                </a:lnTo>
                <a:lnTo>
                  <a:pt x="185420" y="198031"/>
                </a:lnTo>
                <a:lnTo>
                  <a:pt x="185420" y="0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" name="bk object 19"/>
          <p:cNvSpPr/>
          <p:nvPr/>
        </p:nvSpPr>
        <p:spPr>
          <a:xfrm>
            <a:off x="7760427" y="5906964"/>
            <a:ext cx="0" cy="190933"/>
          </a:xfrm>
          <a:custGeom>
            <a:avLst/>
            <a:gdLst/>
            <a:ahLst/>
            <a:cxnLst/>
            <a:rect l="l" t="t" r="r" b="b"/>
            <a:pathLst>
              <a:path h="280034">
                <a:moveTo>
                  <a:pt x="0" y="0"/>
                </a:moveTo>
                <a:lnTo>
                  <a:pt x="0" y="279704"/>
                </a:lnTo>
              </a:path>
            </a:pathLst>
          </a:custGeom>
          <a:ln w="60121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" name="bk object 20"/>
          <p:cNvSpPr/>
          <p:nvPr/>
        </p:nvSpPr>
        <p:spPr>
          <a:xfrm>
            <a:off x="7736839" y="5853546"/>
            <a:ext cx="47314" cy="42863"/>
          </a:xfrm>
          <a:custGeom>
            <a:avLst/>
            <a:gdLst/>
            <a:ahLst/>
            <a:cxnLst/>
            <a:rect l="l" t="t" r="r" b="b"/>
            <a:pathLst>
              <a:path w="60325" h="62865">
                <a:moveTo>
                  <a:pt x="0" y="0"/>
                </a:moveTo>
                <a:lnTo>
                  <a:pt x="60121" y="0"/>
                </a:lnTo>
                <a:lnTo>
                  <a:pt x="60121" y="62496"/>
                </a:lnTo>
                <a:lnTo>
                  <a:pt x="0" y="62496"/>
                </a:lnTo>
                <a:lnTo>
                  <a:pt x="0" y="0"/>
                </a:lnTo>
                <a:close/>
              </a:path>
            </a:pathLst>
          </a:custGeom>
          <a:solidFill>
            <a:srgbClr val="184276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" name="bk object 21"/>
          <p:cNvSpPr/>
          <p:nvPr/>
        </p:nvSpPr>
        <p:spPr>
          <a:xfrm>
            <a:off x="7375860" y="6058230"/>
            <a:ext cx="186267" cy="39399"/>
          </a:xfrm>
          <a:custGeom>
            <a:avLst/>
            <a:gdLst/>
            <a:ahLst/>
            <a:cxnLst/>
            <a:rect l="l" t="t" r="r" b="b"/>
            <a:pathLst>
              <a:path w="237490" h="57784">
                <a:moveTo>
                  <a:pt x="212623" y="0"/>
                </a:moveTo>
                <a:lnTo>
                  <a:pt x="24955" y="0"/>
                </a:lnTo>
                <a:lnTo>
                  <a:pt x="16929" y="38646"/>
                </a:lnTo>
                <a:lnTo>
                  <a:pt x="0" y="38646"/>
                </a:lnTo>
                <a:lnTo>
                  <a:pt x="0" y="57175"/>
                </a:lnTo>
                <a:lnTo>
                  <a:pt x="13144" y="57175"/>
                </a:lnTo>
                <a:lnTo>
                  <a:pt x="237464" y="57213"/>
                </a:lnTo>
                <a:lnTo>
                  <a:pt x="237464" y="38696"/>
                </a:lnTo>
                <a:lnTo>
                  <a:pt x="220637" y="38696"/>
                </a:lnTo>
                <a:lnTo>
                  <a:pt x="212623" y="0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" name="bk object 22"/>
          <p:cNvSpPr/>
          <p:nvPr/>
        </p:nvSpPr>
        <p:spPr>
          <a:xfrm>
            <a:off x="7402148" y="5852706"/>
            <a:ext cx="133973" cy="184439"/>
          </a:xfrm>
          <a:custGeom>
            <a:avLst/>
            <a:gdLst/>
            <a:ahLst/>
            <a:cxnLst/>
            <a:rect l="l" t="t" r="r" b="b"/>
            <a:pathLst>
              <a:path w="170815" h="270509">
                <a:moveTo>
                  <a:pt x="87058" y="0"/>
                </a:moveTo>
                <a:lnTo>
                  <a:pt x="50673" y="22034"/>
                </a:lnTo>
                <a:lnTo>
                  <a:pt x="42283" y="62122"/>
                </a:lnTo>
                <a:lnTo>
                  <a:pt x="24917" y="147207"/>
                </a:lnTo>
                <a:lnTo>
                  <a:pt x="0" y="269989"/>
                </a:lnTo>
                <a:lnTo>
                  <a:pt x="170599" y="269989"/>
                </a:lnTo>
                <a:lnTo>
                  <a:pt x="160924" y="222123"/>
                </a:lnTo>
                <a:lnTo>
                  <a:pt x="63296" y="222123"/>
                </a:lnTo>
                <a:lnTo>
                  <a:pt x="84582" y="93446"/>
                </a:lnTo>
                <a:lnTo>
                  <a:pt x="134918" y="93446"/>
                </a:lnTo>
                <a:lnTo>
                  <a:pt x="120954" y="24358"/>
                </a:lnTo>
                <a:lnTo>
                  <a:pt x="120878" y="24180"/>
                </a:lnTo>
                <a:lnTo>
                  <a:pt x="120815" y="23799"/>
                </a:lnTo>
                <a:lnTo>
                  <a:pt x="120662" y="23571"/>
                </a:lnTo>
                <a:lnTo>
                  <a:pt x="116062" y="13608"/>
                </a:lnTo>
                <a:lnTo>
                  <a:pt x="108613" y="6235"/>
                </a:lnTo>
                <a:lnTo>
                  <a:pt x="98779" y="1605"/>
                </a:lnTo>
                <a:lnTo>
                  <a:pt x="87058" y="0"/>
                </a:lnTo>
                <a:close/>
              </a:path>
              <a:path w="170815" h="270509">
                <a:moveTo>
                  <a:pt x="134918" y="93446"/>
                </a:moveTo>
                <a:lnTo>
                  <a:pt x="84582" y="93446"/>
                </a:lnTo>
                <a:lnTo>
                  <a:pt x="105752" y="222123"/>
                </a:lnTo>
                <a:lnTo>
                  <a:pt x="160924" y="222123"/>
                </a:lnTo>
                <a:lnTo>
                  <a:pt x="134918" y="93446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" name="bk object 23"/>
          <p:cNvSpPr/>
          <p:nvPr/>
        </p:nvSpPr>
        <p:spPr>
          <a:xfrm>
            <a:off x="7897059" y="5924965"/>
            <a:ext cx="559636" cy="11420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" name="bk object 24"/>
          <p:cNvSpPr/>
          <p:nvPr/>
        </p:nvSpPr>
        <p:spPr>
          <a:xfrm>
            <a:off x="7842254" y="5812658"/>
            <a:ext cx="0" cy="317356"/>
          </a:xfrm>
          <a:custGeom>
            <a:avLst/>
            <a:gdLst/>
            <a:ahLst/>
            <a:cxnLst/>
            <a:rect l="l" t="t" r="r" b="b"/>
            <a:pathLst>
              <a:path h="465454">
                <a:moveTo>
                  <a:pt x="0" y="0"/>
                </a:moveTo>
                <a:lnTo>
                  <a:pt x="0" y="465010"/>
                </a:lnTo>
              </a:path>
            </a:pathLst>
          </a:custGeom>
          <a:ln w="3175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" name="bk object 25"/>
          <p:cNvSpPr/>
          <p:nvPr/>
        </p:nvSpPr>
        <p:spPr>
          <a:xfrm>
            <a:off x="7842254" y="5812657"/>
            <a:ext cx="0" cy="317356"/>
          </a:xfrm>
          <a:custGeom>
            <a:avLst/>
            <a:gdLst/>
            <a:ahLst/>
            <a:cxnLst/>
            <a:rect l="l" t="t" r="r" b="b"/>
            <a:pathLst>
              <a:path h="465454">
                <a:moveTo>
                  <a:pt x="0" y="0"/>
                </a:moveTo>
                <a:lnTo>
                  <a:pt x="0" y="465023"/>
                </a:lnTo>
              </a:path>
            </a:pathLst>
          </a:custGeom>
          <a:ln w="5943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" name="bk object 26"/>
          <p:cNvSpPr/>
          <p:nvPr/>
        </p:nvSpPr>
        <p:spPr>
          <a:xfrm>
            <a:off x="3720911" y="5795787"/>
            <a:ext cx="361576" cy="314324"/>
          </a:xfrm>
          <a:custGeom>
            <a:avLst/>
            <a:gdLst/>
            <a:ahLst/>
            <a:cxnLst/>
            <a:rect l="l" t="t" r="r" b="b"/>
            <a:pathLst>
              <a:path w="461010" h="461009">
                <a:moveTo>
                  <a:pt x="230301" y="0"/>
                </a:moveTo>
                <a:lnTo>
                  <a:pt x="183943" y="4687"/>
                </a:lnTo>
                <a:lnTo>
                  <a:pt x="140739" y="18127"/>
                </a:lnTo>
                <a:lnTo>
                  <a:pt x="101622" y="39385"/>
                </a:lnTo>
                <a:lnTo>
                  <a:pt x="67525" y="67530"/>
                </a:lnTo>
                <a:lnTo>
                  <a:pt x="39382" y="101627"/>
                </a:lnTo>
                <a:lnTo>
                  <a:pt x="18125" y="140744"/>
                </a:lnTo>
                <a:lnTo>
                  <a:pt x="4686" y="183946"/>
                </a:lnTo>
                <a:lnTo>
                  <a:pt x="0" y="230301"/>
                </a:lnTo>
                <a:lnTo>
                  <a:pt x="4686" y="276652"/>
                </a:lnTo>
                <a:lnTo>
                  <a:pt x="18125" y="319851"/>
                </a:lnTo>
                <a:lnTo>
                  <a:pt x="39382" y="358966"/>
                </a:lnTo>
                <a:lnTo>
                  <a:pt x="67525" y="393061"/>
                </a:lnTo>
                <a:lnTo>
                  <a:pt x="101622" y="421205"/>
                </a:lnTo>
                <a:lnTo>
                  <a:pt x="140739" y="442464"/>
                </a:lnTo>
                <a:lnTo>
                  <a:pt x="183943" y="455903"/>
                </a:lnTo>
                <a:lnTo>
                  <a:pt x="230301" y="460590"/>
                </a:lnTo>
                <a:lnTo>
                  <a:pt x="276656" y="455903"/>
                </a:lnTo>
                <a:lnTo>
                  <a:pt x="319859" y="442464"/>
                </a:lnTo>
                <a:lnTo>
                  <a:pt x="358975" y="421205"/>
                </a:lnTo>
                <a:lnTo>
                  <a:pt x="393072" y="393061"/>
                </a:lnTo>
                <a:lnTo>
                  <a:pt x="421217" y="358966"/>
                </a:lnTo>
                <a:lnTo>
                  <a:pt x="442476" y="319851"/>
                </a:lnTo>
                <a:lnTo>
                  <a:pt x="455916" y="276652"/>
                </a:lnTo>
                <a:lnTo>
                  <a:pt x="460603" y="230301"/>
                </a:lnTo>
                <a:lnTo>
                  <a:pt x="455916" y="183946"/>
                </a:lnTo>
                <a:lnTo>
                  <a:pt x="442476" y="140744"/>
                </a:lnTo>
                <a:lnTo>
                  <a:pt x="421217" y="101627"/>
                </a:lnTo>
                <a:lnTo>
                  <a:pt x="393072" y="67530"/>
                </a:lnTo>
                <a:lnTo>
                  <a:pt x="358975" y="39385"/>
                </a:lnTo>
                <a:lnTo>
                  <a:pt x="319859" y="18127"/>
                </a:lnTo>
                <a:lnTo>
                  <a:pt x="276656" y="4687"/>
                </a:lnTo>
                <a:lnTo>
                  <a:pt x="230301" y="0"/>
                </a:lnTo>
                <a:close/>
              </a:path>
            </a:pathLst>
          </a:custGeom>
          <a:solidFill>
            <a:srgbClr val="EF453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" name="bk object 27"/>
          <p:cNvSpPr/>
          <p:nvPr/>
        </p:nvSpPr>
        <p:spPr>
          <a:xfrm>
            <a:off x="3768782" y="5837387"/>
            <a:ext cx="265953" cy="231198"/>
          </a:xfrm>
          <a:custGeom>
            <a:avLst/>
            <a:gdLst/>
            <a:ahLst/>
            <a:cxnLst/>
            <a:rect l="l" t="t" r="r" b="b"/>
            <a:pathLst>
              <a:path w="339089" h="339090">
                <a:moveTo>
                  <a:pt x="169265" y="0"/>
                </a:moveTo>
                <a:lnTo>
                  <a:pt x="124267" y="6048"/>
                </a:lnTo>
                <a:lnTo>
                  <a:pt x="83833" y="23115"/>
                </a:lnTo>
                <a:lnTo>
                  <a:pt x="49576" y="49588"/>
                </a:lnTo>
                <a:lnTo>
                  <a:pt x="23109" y="83851"/>
                </a:lnTo>
                <a:lnTo>
                  <a:pt x="6046" y="124290"/>
                </a:lnTo>
                <a:lnTo>
                  <a:pt x="0" y="169290"/>
                </a:lnTo>
                <a:lnTo>
                  <a:pt x="6046" y="214289"/>
                </a:lnTo>
                <a:lnTo>
                  <a:pt x="23109" y="254723"/>
                </a:lnTo>
                <a:lnTo>
                  <a:pt x="49576" y="288980"/>
                </a:lnTo>
                <a:lnTo>
                  <a:pt x="83833" y="315447"/>
                </a:lnTo>
                <a:lnTo>
                  <a:pt x="124267" y="332510"/>
                </a:lnTo>
                <a:lnTo>
                  <a:pt x="169265" y="338556"/>
                </a:lnTo>
                <a:lnTo>
                  <a:pt x="214260" y="332510"/>
                </a:lnTo>
                <a:lnTo>
                  <a:pt x="254695" y="315447"/>
                </a:lnTo>
                <a:lnTo>
                  <a:pt x="288956" y="288980"/>
                </a:lnTo>
                <a:lnTo>
                  <a:pt x="315428" y="254723"/>
                </a:lnTo>
                <a:lnTo>
                  <a:pt x="332495" y="214289"/>
                </a:lnTo>
                <a:lnTo>
                  <a:pt x="338543" y="169290"/>
                </a:lnTo>
                <a:lnTo>
                  <a:pt x="332495" y="124290"/>
                </a:lnTo>
                <a:lnTo>
                  <a:pt x="315428" y="83851"/>
                </a:lnTo>
                <a:lnTo>
                  <a:pt x="288956" y="49588"/>
                </a:lnTo>
                <a:lnTo>
                  <a:pt x="254695" y="23115"/>
                </a:lnTo>
                <a:lnTo>
                  <a:pt x="214260" y="6048"/>
                </a:lnTo>
                <a:lnTo>
                  <a:pt x="16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" name="bk object 28"/>
          <p:cNvSpPr/>
          <p:nvPr/>
        </p:nvSpPr>
        <p:spPr>
          <a:xfrm>
            <a:off x="3790516" y="6044877"/>
            <a:ext cx="223191" cy="5293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" name="bk object 29"/>
          <p:cNvSpPr/>
          <p:nvPr/>
        </p:nvSpPr>
        <p:spPr>
          <a:xfrm>
            <a:off x="3812270" y="5801642"/>
            <a:ext cx="172780" cy="478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" name="bk object 30"/>
          <p:cNvSpPr/>
          <p:nvPr/>
        </p:nvSpPr>
        <p:spPr>
          <a:xfrm>
            <a:off x="3887315" y="5902573"/>
            <a:ext cx="1539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" name="bk object 31"/>
          <p:cNvSpPr/>
          <p:nvPr/>
        </p:nvSpPr>
        <p:spPr>
          <a:xfrm>
            <a:off x="3892635" y="590871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" name="bk object 32"/>
          <p:cNvSpPr/>
          <p:nvPr/>
        </p:nvSpPr>
        <p:spPr>
          <a:xfrm>
            <a:off x="3890881" y="590794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" name="bk object 33"/>
          <p:cNvSpPr/>
          <p:nvPr/>
        </p:nvSpPr>
        <p:spPr>
          <a:xfrm>
            <a:off x="3888192" y="5907656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49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" name="bk object 34"/>
          <p:cNvSpPr/>
          <p:nvPr/>
        </p:nvSpPr>
        <p:spPr>
          <a:xfrm>
            <a:off x="3888172" y="5904011"/>
            <a:ext cx="15707" cy="101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" name="bk object 35"/>
          <p:cNvSpPr/>
          <p:nvPr/>
        </p:nvSpPr>
        <p:spPr>
          <a:xfrm>
            <a:off x="3897047" y="5903786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3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6" name="bk object 36"/>
          <p:cNvSpPr/>
          <p:nvPr/>
        </p:nvSpPr>
        <p:spPr>
          <a:xfrm>
            <a:off x="3894488" y="590368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4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7" name="bk object 37"/>
          <p:cNvSpPr/>
          <p:nvPr/>
        </p:nvSpPr>
        <p:spPr>
          <a:xfrm>
            <a:off x="3892286" y="590389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03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8" name="bk object 38"/>
          <p:cNvSpPr/>
          <p:nvPr/>
        </p:nvSpPr>
        <p:spPr>
          <a:xfrm>
            <a:off x="3890364" y="5903949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88"/>
                </a:lnTo>
                <a:lnTo>
                  <a:pt x="1638" y="215"/>
                </a:lnTo>
                <a:lnTo>
                  <a:pt x="0" y="4089"/>
                </a:lnTo>
                <a:lnTo>
                  <a:pt x="927" y="5092"/>
                </a:lnTo>
                <a:lnTo>
                  <a:pt x="609" y="6184"/>
                </a:lnTo>
                <a:lnTo>
                  <a:pt x="2476" y="5041"/>
                </a:lnTo>
                <a:lnTo>
                  <a:pt x="4394" y="3924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9" name="bk object 39"/>
          <p:cNvSpPr/>
          <p:nvPr/>
        </p:nvSpPr>
        <p:spPr>
          <a:xfrm>
            <a:off x="3877285" y="5903300"/>
            <a:ext cx="2506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0" name="bk object 40"/>
          <p:cNvSpPr/>
          <p:nvPr/>
        </p:nvSpPr>
        <p:spPr>
          <a:xfrm>
            <a:off x="3886599" y="5908929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2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1" name="bk object 41"/>
          <p:cNvSpPr/>
          <p:nvPr/>
        </p:nvSpPr>
        <p:spPr>
          <a:xfrm>
            <a:off x="3888551" y="5909041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2" name="bk object 42"/>
          <p:cNvSpPr/>
          <p:nvPr/>
        </p:nvSpPr>
        <p:spPr>
          <a:xfrm>
            <a:off x="3891220" y="5909613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82"/>
                </a:lnTo>
                <a:lnTo>
                  <a:pt x="7137" y="11023"/>
                </a:lnTo>
                <a:lnTo>
                  <a:pt x="3873" y="4140"/>
                </a:lnTo>
                <a:lnTo>
                  <a:pt x="4241" y="939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3" name="bk object 43"/>
          <p:cNvSpPr/>
          <p:nvPr/>
        </p:nvSpPr>
        <p:spPr>
          <a:xfrm>
            <a:off x="3884855" y="5903707"/>
            <a:ext cx="11952" cy="1358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4" name="bk object 44"/>
          <p:cNvSpPr/>
          <p:nvPr/>
        </p:nvSpPr>
        <p:spPr>
          <a:xfrm>
            <a:off x="3887634" y="5904106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64"/>
                </a:lnTo>
                <a:lnTo>
                  <a:pt x="5041" y="8242"/>
                </a:lnTo>
                <a:lnTo>
                  <a:pt x="7492" y="2095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5" name="bk object 45"/>
          <p:cNvSpPr/>
          <p:nvPr/>
        </p:nvSpPr>
        <p:spPr>
          <a:xfrm>
            <a:off x="3890583" y="5905084"/>
            <a:ext cx="5478" cy="6927"/>
          </a:xfrm>
          <a:custGeom>
            <a:avLst/>
            <a:gdLst/>
            <a:ahLst/>
            <a:cxnLst/>
            <a:rect l="l" t="t" r="r" b="b"/>
            <a:pathLst>
              <a:path w="6985" h="10159">
                <a:moveTo>
                  <a:pt x="3771" y="0"/>
                </a:moveTo>
                <a:lnTo>
                  <a:pt x="0" y="4584"/>
                </a:lnTo>
                <a:lnTo>
                  <a:pt x="2197" y="9690"/>
                </a:lnTo>
                <a:lnTo>
                  <a:pt x="2781" y="8166"/>
                </a:lnTo>
                <a:lnTo>
                  <a:pt x="3733" y="7823"/>
                </a:lnTo>
                <a:lnTo>
                  <a:pt x="4711" y="7505"/>
                </a:lnTo>
                <a:lnTo>
                  <a:pt x="6273" y="1778"/>
                </a:lnTo>
                <a:lnTo>
                  <a:pt x="6502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6" name="bk object 46"/>
          <p:cNvSpPr/>
          <p:nvPr/>
        </p:nvSpPr>
        <p:spPr>
          <a:xfrm>
            <a:off x="3893113" y="590640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4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7" name="bk object 47"/>
          <p:cNvSpPr/>
          <p:nvPr/>
        </p:nvSpPr>
        <p:spPr>
          <a:xfrm>
            <a:off x="3895524" y="5907362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6" y="0"/>
                </a:moveTo>
                <a:lnTo>
                  <a:pt x="0" y="3213"/>
                </a:lnTo>
                <a:lnTo>
                  <a:pt x="2082" y="7099"/>
                </a:lnTo>
                <a:lnTo>
                  <a:pt x="2362" y="6007"/>
                </a:lnTo>
                <a:lnTo>
                  <a:pt x="3009" y="5803"/>
                </a:lnTo>
                <a:lnTo>
                  <a:pt x="3695" y="5626"/>
                </a:lnTo>
                <a:lnTo>
                  <a:pt x="4267" y="1447"/>
                </a:lnTo>
                <a:lnTo>
                  <a:pt x="4419" y="1384"/>
                </a:lnTo>
                <a:lnTo>
                  <a:pt x="228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8" name="bk object 48"/>
          <p:cNvSpPr/>
          <p:nvPr/>
        </p:nvSpPr>
        <p:spPr>
          <a:xfrm>
            <a:off x="3887315" y="5902573"/>
            <a:ext cx="1539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9" name="bk object 49"/>
          <p:cNvSpPr/>
          <p:nvPr/>
        </p:nvSpPr>
        <p:spPr>
          <a:xfrm>
            <a:off x="3892635" y="590871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0" name="bk object 50"/>
          <p:cNvSpPr/>
          <p:nvPr/>
        </p:nvSpPr>
        <p:spPr>
          <a:xfrm>
            <a:off x="3890881" y="590794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1" name="bk object 51"/>
          <p:cNvSpPr/>
          <p:nvPr/>
        </p:nvSpPr>
        <p:spPr>
          <a:xfrm>
            <a:off x="3888192" y="5907656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49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2" name="bk object 52"/>
          <p:cNvSpPr/>
          <p:nvPr/>
        </p:nvSpPr>
        <p:spPr>
          <a:xfrm>
            <a:off x="3888172" y="5904011"/>
            <a:ext cx="15707" cy="101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3" name="bk object 53"/>
          <p:cNvSpPr/>
          <p:nvPr/>
        </p:nvSpPr>
        <p:spPr>
          <a:xfrm>
            <a:off x="3897047" y="5903786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3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4" name="bk object 54"/>
          <p:cNvSpPr/>
          <p:nvPr/>
        </p:nvSpPr>
        <p:spPr>
          <a:xfrm>
            <a:off x="3894488" y="590368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4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5" name="bk object 55"/>
          <p:cNvSpPr/>
          <p:nvPr/>
        </p:nvSpPr>
        <p:spPr>
          <a:xfrm>
            <a:off x="3892286" y="590389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03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6" name="bk object 56"/>
          <p:cNvSpPr/>
          <p:nvPr/>
        </p:nvSpPr>
        <p:spPr>
          <a:xfrm>
            <a:off x="3890364" y="5903949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88"/>
                </a:lnTo>
                <a:lnTo>
                  <a:pt x="1638" y="215"/>
                </a:lnTo>
                <a:lnTo>
                  <a:pt x="0" y="4089"/>
                </a:lnTo>
                <a:lnTo>
                  <a:pt x="927" y="5092"/>
                </a:lnTo>
                <a:lnTo>
                  <a:pt x="609" y="6184"/>
                </a:lnTo>
                <a:lnTo>
                  <a:pt x="2476" y="5041"/>
                </a:lnTo>
                <a:lnTo>
                  <a:pt x="4394" y="3924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7" name="bk object 57"/>
          <p:cNvSpPr/>
          <p:nvPr/>
        </p:nvSpPr>
        <p:spPr>
          <a:xfrm>
            <a:off x="3877285" y="5903300"/>
            <a:ext cx="2506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8" name="bk object 58"/>
          <p:cNvSpPr/>
          <p:nvPr/>
        </p:nvSpPr>
        <p:spPr>
          <a:xfrm>
            <a:off x="3886599" y="5908929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2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9" name="bk object 59"/>
          <p:cNvSpPr/>
          <p:nvPr/>
        </p:nvSpPr>
        <p:spPr>
          <a:xfrm>
            <a:off x="3888551" y="5909041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0" name="bk object 60"/>
          <p:cNvSpPr/>
          <p:nvPr/>
        </p:nvSpPr>
        <p:spPr>
          <a:xfrm>
            <a:off x="3891220" y="5909613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82"/>
                </a:lnTo>
                <a:lnTo>
                  <a:pt x="7137" y="11023"/>
                </a:lnTo>
                <a:lnTo>
                  <a:pt x="3873" y="4140"/>
                </a:lnTo>
                <a:lnTo>
                  <a:pt x="4241" y="939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1" name="bk object 61"/>
          <p:cNvSpPr/>
          <p:nvPr/>
        </p:nvSpPr>
        <p:spPr>
          <a:xfrm>
            <a:off x="3884855" y="5903707"/>
            <a:ext cx="11952" cy="1358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2" name="bk object 62"/>
          <p:cNvSpPr/>
          <p:nvPr/>
        </p:nvSpPr>
        <p:spPr>
          <a:xfrm>
            <a:off x="3887634" y="5904106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64"/>
                </a:lnTo>
                <a:lnTo>
                  <a:pt x="5041" y="8242"/>
                </a:lnTo>
                <a:lnTo>
                  <a:pt x="7492" y="2095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3" name="bk object 63"/>
          <p:cNvSpPr/>
          <p:nvPr/>
        </p:nvSpPr>
        <p:spPr>
          <a:xfrm>
            <a:off x="3890583" y="5905084"/>
            <a:ext cx="5478" cy="6927"/>
          </a:xfrm>
          <a:custGeom>
            <a:avLst/>
            <a:gdLst/>
            <a:ahLst/>
            <a:cxnLst/>
            <a:rect l="l" t="t" r="r" b="b"/>
            <a:pathLst>
              <a:path w="6985" h="10159">
                <a:moveTo>
                  <a:pt x="3771" y="0"/>
                </a:moveTo>
                <a:lnTo>
                  <a:pt x="0" y="4584"/>
                </a:lnTo>
                <a:lnTo>
                  <a:pt x="2197" y="9690"/>
                </a:lnTo>
                <a:lnTo>
                  <a:pt x="2781" y="8166"/>
                </a:lnTo>
                <a:lnTo>
                  <a:pt x="3733" y="7823"/>
                </a:lnTo>
                <a:lnTo>
                  <a:pt x="4711" y="7505"/>
                </a:lnTo>
                <a:lnTo>
                  <a:pt x="6273" y="1778"/>
                </a:lnTo>
                <a:lnTo>
                  <a:pt x="6502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4" name="bk object 64"/>
          <p:cNvSpPr/>
          <p:nvPr/>
        </p:nvSpPr>
        <p:spPr>
          <a:xfrm>
            <a:off x="3893113" y="590640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4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5" name="bk object 65"/>
          <p:cNvSpPr/>
          <p:nvPr/>
        </p:nvSpPr>
        <p:spPr>
          <a:xfrm>
            <a:off x="3895524" y="5907362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6" y="0"/>
                </a:moveTo>
                <a:lnTo>
                  <a:pt x="0" y="3213"/>
                </a:lnTo>
                <a:lnTo>
                  <a:pt x="2082" y="7099"/>
                </a:lnTo>
                <a:lnTo>
                  <a:pt x="2362" y="6007"/>
                </a:lnTo>
                <a:lnTo>
                  <a:pt x="3009" y="5803"/>
                </a:lnTo>
                <a:lnTo>
                  <a:pt x="3695" y="5626"/>
                </a:lnTo>
                <a:lnTo>
                  <a:pt x="4267" y="1447"/>
                </a:lnTo>
                <a:lnTo>
                  <a:pt x="4419" y="1384"/>
                </a:lnTo>
                <a:lnTo>
                  <a:pt x="228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6" name="bk object 66"/>
          <p:cNvSpPr/>
          <p:nvPr/>
        </p:nvSpPr>
        <p:spPr>
          <a:xfrm>
            <a:off x="3887504" y="5903673"/>
            <a:ext cx="11435" cy="81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7" name="bk object 67"/>
          <p:cNvSpPr/>
          <p:nvPr/>
        </p:nvSpPr>
        <p:spPr>
          <a:xfrm>
            <a:off x="3893720" y="5974522"/>
            <a:ext cx="76767" cy="7656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8" name="bk object 68"/>
          <p:cNvSpPr/>
          <p:nvPr/>
        </p:nvSpPr>
        <p:spPr>
          <a:xfrm>
            <a:off x="3978696" y="5907742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60" h="15240">
                <a:moveTo>
                  <a:pt x="22682" y="0"/>
                </a:moveTo>
                <a:lnTo>
                  <a:pt x="21069" y="1079"/>
                </a:lnTo>
                <a:lnTo>
                  <a:pt x="0" y="14960"/>
                </a:lnTo>
                <a:lnTo>
                  <a:pt x="114" y="15227"/>
                </a:lnTo>
                <a:lnTo>
                  <a:pt x="2743" y="14731"/>
                </a:lnTo>
                <a:lnTo>
                  <a:pt x="22466" y="241"/>
                </a:lnTo>
                <a:lnTo>
                  <a:pt x="22707" y="88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9" name="bk object 69"/>
          <p:cNvSpPr/>
          <p:nvPr/>
        </p:nvSpPr>
        <p:spPr>
          <a:xfrm>
            <a:off x="3975548" y="5890554"/>
            <a:ext cx="25937" cy="2797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0" name="bk object 70"/>
          <p:cNvSpPr/>
          <p:nvPr/>
        </p:nvSpPr>
        <p:spPr>
          <a:xfrm>
            <a:off x="3900314" y="5915804"/>
            <a:ext cx="80666" cy="8571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1" name="bk object 71"/>
          <p:cNvSpPr/>
          <p:nvPr/>
        </p:nvSpPr>
        <p:spPr>
          <a:xfrm>
            <a:off x="3923244" y="5931936"/>
            <a:ext cx="28886" cy="56284"/>
          </a:xfrm>
          <a:custGeom>
            <a:avLst/>
            <a:gdLst/>
            <a:ahLst/>
            <a:cxnLst/>
            <a:rect l="l" t="t" r="r" b="b"/>
            <a:pathLst>
              <a:path w="36829" h="82550">
                <a:moveTo>
                  <a:pt x="36106" y="0"/>
                </a:moveTo>
                <a:lnTo>
                  <a:pt x="33870" y="1828"/>
                </a:lnTo>
                <a:lnTo>
                  <a:pt x="26682" y="7797"/>
                </a:lnTo>
                <a:lnTo>
                  <a:pt x="0" y="56426"/>
                </a:lnTo>
                <a:lnTo>
                  <a:pt x="11645" y="78486"/>
                </a:lnTo>
                <a:lnTo>
                  <a:pt x="16408" y="82486"/>
                </a:lnTo>
                <a:lnTo>
                  <a:pt x="21932" y="67208"/>
                </a:lnTo>
                <a:lnTo>
                  <a:pt x="24930" y="60528"/>
                </a:lnTo>
                <a:lnTo>
                  <a:pt x="25044" y="52755"/>
                </a:lnTo>
                <a:lnTo>
                  <a:pt x="29984" y="45364"/>
                </a:lnTo>
                <a:lnTo>
                  <a:pt x="32575" y="41008"/>
                </a:lnTo>
                <a:lnTo>
                  <a:pt x="33959" y="37680"/>
                </a:lnTo>
                <a:lnTo>
                  <a:pt x="33362" y="29959"/>
                </a:lnTo>
                <a:lnTo>
                  <a:pt x="33868" y="22175"/>
                </a:lnTo>
                <a:lnTo>
                  <a:pt x="35225" y="16651"/>
                </a:lnTo>
                <a:lnTo>
                  <a:pt x="36336" y="10290"/>
                </a:lnTo>
                <a:lnTo>
                  <a:pt x="36106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2" name="bk object 72"/>
          <p:cNvSpPr/>
          <p:nvPr/>
        </p:nvSpPr>
        <p:spPr>
          <a:xfrm>
            <a:off x="3902675" y="5972588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4" h="35559">
                <a:moveTo>
                  <a:pt x="15700" y="0"/>
                </a:moveTo>
                <a:lnTo>
                  <a:pt x="7065" y="2445"/>
                </a:lnTo>
                <a:lnTo>
                  <a:pt x="172" y="8772"/>
                </a:lnTo>
                <a:lnTo>
                  <a:pt x="0" y="17923"/>
                </a:lnTo>
                <a:lnTo>
                  <a:pt x="6223" y="25505"/>
                </a:lnTo>
                <a:lnTo>
                  <a:pt x="12471" y="31042"/>
                </a:lnTo>
                <a:lnTo>
                  <a:pt x="18542" y="34928"/>
                </a:lnTo>
                <a:lnTo>
                  <a:pt x="19405" y="35462"/>
                </a:lnTo>
                <a:lnTo>
                  <a:pt x="27432" y="31195"/>
                </a:lnTo>
                <a:lnTo>
                  <a:pt x="30810" y="18634"/>
                </a:lnTo>
                <a:lnTo>
                  <a:pt x="29324" y="17072"/>
                </a:lnTo>
                <a:lnTo>
                  <a:pt x="23876" y="9401"/>
                </a:lnTo>
                <a:lnTo>
                  <a:pt x="21094" y="2493"/>
                </a:lnTo>
                <a:lnTo>
                  <a:pt x="15700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3" name="bk object 73"/>
          <p:cNvSpPr/>
          <p:nvPr/>
        </p:nvSpPr>
        <p:spPr>
          <a:xfrm>
            <a:off x="3919220" y="5974287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4" h="30479">
                <a:moveTo>
                  <a:pt x="0" y="0"/>
                </a:moveTo>
                <a:lnTo>
                  <a:pt x="28092" y="29070"/>
                </a:lnTo>
                <a:lnTo>
                  <a:pt x="36931" y="30454"/>
                </a:lnTo>
                <a:lnTo>
                  <a:pt x="38771" y="30289"/>
                </a:lnTo>
                <a:lnTo>
                  <a:pt x="36931" y="30289"/>
                </a:lnTo>
                <a:lnTo>
                  <a:pt x="33947" y="30099"/>
                </a:lnTo>
                <a:lnTo>
                  <a:pt x="28143" y="28867"/>
                </a:lnTo>
                <a:lnTo>
                  <a:pt x="25336" y="27838"/>
                </a:lnTo>
                <a:lnTo>
                  <a:pt x="22720" y="26479"/>
                </a:lnTo>
                <a:lnTo>
                  <a:pt x="17424" y="23787"/>
                </a:lnTo>
                <a:lnTo>
                  <a:pt x="1143" y="2743"/>
                </a:lnTo>
                <a:lnTo>
                  <a:pt x="0" y="0"/>
                </a:lnTo>
                <a:close/>
              </a:path>
              <a:path w="56514" h="30479">
                <a:moveTo>
                  <a:pt x="43789" y="29711"/>
                </a:moveTo>
                <a:lnTo>
                  <a:pt x="36931" y="30289"/>
                </a:lnTo>
                <a:lnTo>
                  <a:pt x="38771" y="30289"/>
                </a:lnTo>
                <a:lnTo>
                  <a:pt x="42875" y="29921"/>
                </a:lnTo>
                <a:lnTo>
                  <a:pt x="43789" y="29711"/>
                </a:lnTo>
                <a:close/>
              </a:path>
              <a:path w="56514" h="30479">
                <a:moveTo>
                  <a:pt x="53669" y="25858"/>
                </a:moveTo>
                <a:lnTo>
                  <a:pt x="51371" y="27101"/>
                </a:lnTo>
                <a:lnTo>
                  <a:pt x="45808" y="29248"/>
                </a:lnTo>
                <a:lnTo>
                  <a:pt x="43789" y="29711"/>
                </a:lnTo>
                <a:lnTo>
                  <a:pt x="45821" y="29540"/>
                </a:lnTo>
                <a:lnTo>
                  <a:pt x="51523" y="27279"/>
                </a:lnTo>
                <a:lnTo>
                  <a:pt x="53669" y="25858"/>
                </a:lnTo>
                <a:close/>
              </a:path>
              <a:path w="56514" h="30479">
                <a:moveTo>
                  <a:pt x="56451" y="24015"/>
                </a:moveTo>
                <a:lnTo>
                  <a:pt x="53669" y="25858"/>
                </a:lnTo>
                <a:lnTo>
                  <a:pt x="54000" y="25679"/>
                </a:lnTo>
                <a:lnTo>
                  <a:pt x="56451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4" name="bk object 74"/>
          <p:cNvSpPr/>
          <p:nvPr/>
        </p:nvSpPr>
        <p:spPr>
          <a:xfrm>
            <a:off x="3983815" y="5922108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4993" y="0"/>
                </a:moveTo>
                <a:lnTo>
                  <a:pt x="23215" y="1206"/>
                </a:lnTo>
                <a:lnTo>
                  <a:pt x="0" y="16497"/>
                </a:lnTo>
                <a:lnTo>
                  <a:pt x="114" y="16776"/>
                </a:lnTo>
                <a:lnTo>
                  <a:pt x="2997" y="16243"/>
                </a:lnTo>
                <a:lnTo>
                  <a:pt x="25006" y="101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5" name="bk object 75"/>
          <p:cNvSpPr/>
          <p:nvPr/>
        </p:nvSpPr>
        <p:spPr>
          <a:xfrm>
            <a:off x="3984592" y="5922151"/>
            <a:ext cx="18816" cy="1184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6" name="bk object 76"/>
          <p:cNvSpPr/>
          <p:nvPr/>
        </p:nvSpPr>
        <p:spPr>
          <a:xfrm>
            <a:off x="3910245" y="5946180"/>
            <a:ext cx="48545" cy="7197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7" name="bk object 77"/>
          <p:cNvSpPr/>
          <p:nvPr/>
        </p:nvSpPr>
        <p:spPr>
          <a:xfrm>
            <a:off x="3910235" y="5949930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39" h="93345">
                <a:moveTo>
                  <a:pt x="52933" y="0"/>
                </a:moveTo>
                <a:lnTo>
                  <a:pt x="39789" y="8547"/>
                </a:lnTo>
                <a:lnTo>
                  <a:pt x="0" y="64681"/>
                </a:lnTo>
                <a:lnTo>
                  <a:pt x="13093" y="92303"/>
                </a:lnTo>
                <a:lnTo>
                  <a:pt x="14143" y="92843"/>
                </a:lnTo>
                <a:lnTo>
                  <a:pt x="17111" y="92690"/>
                </a:lnTo>
                <a:lnTo>
                  <a:pt x="21725" y="89185"/>
                </a:lnTo>
                <a:lnTo>
                  <a:pt x="27711" y="79667"/>
                </a:lnTo>
                <a:lnTo>
                  <a:pt x="30622" y="73571"/>
                </a:lnTo>
                <a:lnTo>
                  <a:pt x="33086" y="67119"/>
                </a:lnTo>
                <a:lnTo>
                  <a:pt x="36041" y="60543"/>
                </a:lnTo>
                <a:lnTo>
                  <a:pt x="40424" y="54076"/>
                </a:lnTo>
                <a:lnTo>
                  <a:pt x="44234" y="49047"/>
                </a:lnTo>
                <a:lnTo>
                  <a:pt x="46393" y="45173"/>
                </a:lnTo>
                <a:lnTo>
                  <a:pt x="46393" y="35814"/>
                </a:lnTo>
                <a:lnTo>
                  <a:pt x="47822" y="26499"/>
                </a:lnTo>
                <a:lnTo>
                  <a:pt x="50139" y="19973"/>
                </a:lnTo>
                <a:lnTo>
                  <a:pt x="52218" y="12414"/>
                </a:lnTo>
                <a:lnTo>
                  <a:pt x="529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8" name="bk object 78"/>
          <p:cNvSpPr/>
          <p:nvPr/>
        </p:nvSpPr>
        <p:spPr>
          <a:xfrm>
            <a:off x="3899392" y="5931001"/>
            <a:ext cx="86934" cy="945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9" name="bk object 79"/>
          <p:cNvSpPr/>
          <p:nvPr/>
        </p:nvSpPr>
        <p:spPr>
          <a:xfrm>
            <a:off x="3899966" y="5993604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89" h="39370">
                <a:moveTo>
                  <a:pt x="17345" y="0"/>
                </a:moveTo>
                <a:lnTo>
                  <a:pt x="7816" y="2697"/>
                </a:lnTo>
                <a:lnTo>
                  <a:pt x="203" y="9671"/>
                </a:lnTo>
                <a:lnTo>
                  <a:pt x="0" y="19759"/>
                </a:lnTo>
                <a:lnTo>
                  <a:pt x="5159" y="25622"/>
                </a:lnTo>
                <a:lnTo>
                  <a:pt x="10301" y="30670"/>
                </a:lnTo>
                <a:lnTo>
                  <a:pt x="15407" y="34949"/>
                </a:lnTo>
                <a:lnTo>
                  <a:pt x="20459" y="38504"/>
                </a:lnTo>
                <a:lnTo>
                  <a:pt x="21424" y="39114"/>
                </a:lnTo>
                <a:lnTo>
                  <a:pt x="30276" y="34377"/>
                </a:lnTo>
                <a:lnTo>
                  <a:pt x="33972" y="20534"/>
                </a:lnTo>
                <a:lnTo>
                  <a:pt x="32372" y="18819"/>
                </a:lnTo>
                <a:lnTo>
                  <a:pt x="26339" y="10374"/>
                </a:lnTo>
                <a:lnTo>
                  <a:pt x="23291" y="2741"/>
                </a:lnTo>
                <a:lnTo>
                  <a:pt x="17345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0" name="bk object 80"/>
          <p:cNvSpPr/>
          <p:nvPr/>
        </p:nvSpPr>
        <p:spPr>
          <a:xfrm>
            <a:off x="3918234" y="5995473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0" y="0"/>
                </a:moveTo>
                <a:lnTo>
                  <a:pt x="27838" y="30937"/>
                </a:lnTo>
                <a:lnTo>
                  <a:pt x="40716" y="33591"/>
                </a:lnTo>
                <a:lnTo>
                  <a:pt x="42896" y="33401"/>
                </a:lnTo>
                <a:lnTo>
                  <a:pt x="40716" y="33401"/>
                </a:lnTo>
                <a:lnTo>
                  <a:pt x="37414" y="33197"/>
                </a:lnTo>
                <a:lnTo>
                  <a:pt x="9969" y="16852"/>
                </a:lnTo>
                <a:lnTo>
                  <a:pt x="7861" y="14338"/>
                </a:lnTo>
                <a:lnTo>
                  <a:pt x="6007" y="11633"/>
                </a:lnTo>
                <a:lnTo>
                  <a:pt x="2692" y="5981"/>
                </a:lnTo>
                <a:lnTo>
                  <a:pt x="1244" y="3048"/>
                </a:lnTo>
                <a:lnTo>
                  <a:pt x="0" y="0"/>
                </a:lnTo>
                <a:close/>
              </a:path>
              <a:path w="62229" h="33654">
                <a:moveTo>
                  <a:pt x="48326" y="32769"/>
                </a:moveTo>
                <a:lnTo>
                  <a:pt x="40716" y="33401"/>
                </a:lnTo>
                <a:lnTo>
                  <a:pt x="42896" y="33401"/>
                </a:lnTo>
                <a:lnTo>
                  <a:pt x="47256" y="33020"/>
                </a:lnTo>
                <a:lnTo>
                  <a:pt x="48326" y="32769"/>
                </a:lnTo>
                <a:close/>
              </a:path>
              <a:path w="62229" h="33654">
                <a:moveTo>
                  <a:pt x="59231" y="28469"/>
                </a:moveTo>
                <a:lnTo>
                  <a:pt x="56629" y="29895"/>
                </a:lnTo>
                <a:lnTo>
                  <a:pt x="50507" y="32258"/>
                </a:lnTo>
                <a:lnTo>
                  <a:pt x="48326" y="32769"/>
                </a:lnTo>
                <a:lnTo>
                  <a:pt x="50507" y="32588"/>
                </a:lnTo>
                <a:lnTo>
                  <a:pt x="56794" y="30086"/>
                </a:lnTo>
                <a:lnTo>
                  <a:pt x="59231" y="28469"/>
                </a:lnTo>
                <a:close/>
              </a:path>
              <a:path w="62229" h="33654">
                <a:moveTo>
                  <a:pt x="62230" y="26479"/>
                </a:moveTo>
                <a:lnTo>
                  <a:pt x="59231" y="28469"/>
                </a:lnTo>
                <a:lnTo>
                  <a:pt x="59524" y="28308"/>
                </a:lnTo>
                <a:lnTo>
                  <a:pt x="62230" y="26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1" name="bk object 81"/>
          <p:cNvSpPr/>
          <p:nvPr/>
        </p:nvSpPr>
        <p:spPr>
          <a:xfrm>
            <a:off x="3903462" y="6012180"/>
            <a:ext cx="13098" cy="3662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2" name="bk object 82"/>
          <p:cNvSpPr/>
          <p:nvPr/>
        </p:nvSpPr>
        <p:spPr>
          <a:xfrm>
            <a:off x="3832641" y="5974522"/>
            <a:ext cx="89836" cy="6496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3" name="bk object 83"/>
          <p:cNvSpPr/>
          <p:nvPr/>
        </p:nvSpPr>
        <p:spPr>
          <a:xfrm>
            <a:off x="3806553" y="5907742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60" h="15240">
                <a:moveTo>
                  <a:pt x="25" y="0"/>
                </a:moveTo>
                <a:lnTo>
                  <a:pt x="241" y="241"/>
                </a:lnTo>
                <a:lnTo>
                  <a:pt x="19964" y="14731"/>
                </a:lnTo>
                <a:lnTo>
                  <a:pt x="22580" y="15227"/>
                </a:lnTo>
                <a:lnTo>
                  <a:pt x="22694" y="14960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4" name="bk object 84"/>
          <p:cNvSpPr/>
          <p:nvPr/>
        </p:nvSpPr>
        <p:spPr>
          <a:xfrm>
            <a:off x="3800009" y="5890554"/>
            <a:ext cx="25928" cy="2797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5" name="bk object 85"/>
          <p:cNvSpPr/>
          <p:nvPr/>
        </p:nvSpPr>
        <p:spPr>
          <a:xfrm>
            <a:off x="3844632" y="5929580"/>
            <a:ext cx="46447" cy="65272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6" name="bk object 86"/>
          <p:cNvSpPr/>
          <p:nvPr/>
        </p:nvSpPr>
        <p:spPr>
          <a:xfrm>
            <a:off x="3851477" y="5932655"/>
            <a:ext cx="26396" cy="45460"/>
          </a:xfrm>
          <a:custGeom>
            <a:avLst/>
            <a:gdLst/>
            <a:ahLst/>
            <a:cxnLst/>
            <a:rect l="l" t="t" r="r" b="b"/>
            <a:pathLst>
              <a:path w="33654" h="66675">
                <a:moveTo>
                  <a:pt x="533" y="0"/>
                </a:moveTo>
                <a:lnTo>
                  <a:pt x="0" y="8103"/>
                </a:lnTo>
                <a:lnTo>
                  <a:pt x="862" y="13190"/>
                </a:lnTo>
                <a:lnTo>
                  <a:pt x="1989" y="17632"/>
                </a:lnTo>
                <a:lnTo>
                  <a:pt x="2248" y="23799"/>
                </a:lnTo>
                <a:lnTo>
                  <a:pt x="1448" y="29845"/>
                </a:lnTo>
                <a:lnTo>
                  <a:pt x="2680" y="32575"/>
                </a:lnTo>
                <a:lnTo>
                  <a:pt x="5029" y="36169"/>
                </a:lnTo>
                <a:lnTo>
                  <a:pt x="9525" y="42329"/>
                </a:lnTo>
                <a:lnTo>
                  <a:pt x="9398" y="48463"/>
                </a:lnTo>
                <a:lnTo>
                  <a:pt x="12052" y="53924"/>
                </a:lnTo>
                <a:lnTo>
                  <a:pt x="16878" y="66319"/>
                </a:lnTo>
                <a:lnTo>
                  <a:pt x="21527" y="63461"/>
                </a:lnTo>
                <a:lnTo>
                  <a:pt x="33287" y="46799"/>
                </a:lnTo>
                <a:lnTo>
                  <a:pt x="9271" y="6756"/>
                </a:lnTo>
                <a:lnTo>
                  <a:pt x="5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7" name="bk object 87"/>
          <p:cNvSpPr/>
          <p:nvPr/>
        </p:nvSpPr>
        <p:spPr>
          <a:xfrm>
            <a:off x="3822074" y="5915804"/>
            <a:ext cx="78837" cy="8571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8" name="bk object 88"/>
          <p:cNvSpPr/>
          <p:nvPr/>
        </p:nvSpPr>
        <p:spPr>
          <a:xfrm>
            <a:off x="3876219" y="5972588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4" h="35559">
                <a:moveTo>
                  <a:pt x="15104" y="0"/>
                </a:moveTo>
                <a:lnTo>
                  <a:pt x="9702" y="2493"/>
                </a:lnTo>
                <a:lnTo>
                  <a:pt x="6934" y="9401"/>
                </a:lnTo>
                <a:lnTo>
                  <a:pt x="1485" y="17072"/>
                </a:lnTo>
                <a:lnTo>
                  <a:pt x="0" y="18634"/>
                </a:lnTo>
                <a:lnTo>
                  <a:pt x="3378" y="31195"/>
                </a:lnTo>
                <a:lnTo>
                  <a:pt x="11404" y="35462"/>
                </a:lnTo>
                <a:lnTo>
                  <a:pt x="12268" y="34928"/>
                </a:lnTo>
                <a:lnTo>
                  <a:pt x="18338" y="31042"/>
                </a:lnTo>
                <a:lnTo>
                  <a:pt x="24587" y="25505"/>
                </a:lnTo>
                <a:lnTo>
                  <a:pt x="30797" y="17923"/>
                </a:lnTo>
                <a:lnTo>
                  <a:pt x="30632" y="8772"/>
                </a:lnTo>
                <a:lnTo>
                  <a:pt x="23741" y="2445"/>
                </a:lnTo>
                <a:lnTo>
                  <a:pt x="1510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9" name="bk object 89"/>
          <p:cNvSpPr/>
          <p:nvPr/>
        </p:nvSpPr>
        <p:spPr>
          <a:xfrm>
            <a:off x="3839554" y="5974287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4" h="30479">
                <a:moveTo>
                  <a:pt x="12662" y="29710"/>
                </a:moveTo>
                <a:lnTo>
                  <a:pt x="13576" y="29921"/>
                </a:lnTo>
                <a:lnTo>
                  <a:pt x="19519" y="30454"/>
                </a:lnTo>
                <a:lnTo>
                  <a:pt x="22314" y="30289"/>
                </a:lnTo>
                <a:lnTo>
                  <a:pt x="19519" y="30289"/>
                </a:lnTo>
                <a:lnTo>
                  <a:pt x="12662" y="29710"/>
                </a:lnTo>
                <a:close/>
              </a:path>
              <a:path w="56514" h="30479">
                <a:moveTo>
                  <a:pt x="56451" y="0"/>
                </a:moveTo>
                <a:lnTo>
                  <a:pt x="33731" y="26479"/>
                </a:lnTo>
                <a:lnTo>
                  <a:pt x="31127" y="27838"/>
                </a:lnTo>
                <a:lnTo>
                  <a:pt x="28308" y="28867"/>
                </a:lnTo>
                <a:lnTo>
                  <a:pt x="22517" y="30099"/>
                </a:lnTo>
                <a:lnTo>
                  <a:pt x="19519" y="30289"/>
                </a:lnTo>
                <a:lnTo>
                  <a:pt x="22529" y="30276"/>
                </a:lnTo>
                <a:lnTo>
                  <a:pt x="54088" y="5422"/>
                </a:lnTo>
                <a:lnTo>
                  <a:pt x="55376" y="2743"/>
                </a:lnTo>
                <a:lnTo>
                  <a:pt x="56451" y="0"/>
                </a:lnTo>
                <a:close/>
              </a:path>
              <a:path w="56514" h="30479">
                <a:moveTo>
                  <a:pt x="2853" y="25896"/>
                </a:moveTo>
                <a:lnTo>
                  <a:pt x="4952" y="27279"/>
                </a:lnTo>
                <a:lnTo>
                  <a:pt x="10642" y="29540"/>
                </a:lnTo>
                <a:lnTo>
                  <a:pt x="12662" y="29710"/>
                </a:lnTo>
                <a:lnTo>
                  <a:pt x="10655" y="29248"/>
                </a:lnTo>
                <a:lnTo>
                  <a:pt x="5092" y="27101"/>
                </a:lnTo>
                <a:lnTo>
                  <a:pt x="2853" y="25896"/>
                </a:lnTo>
                <a:close/>
              </a:path>
              <a:path w="56514" h="30479">
                <a:moveTo>
                  <a:pt x="0" y="24015"/>
                </a:moveTo>
                <a:lnTo>
                  <a:pt x="2451" y="25679"/>
                </a:lnTo>
                <a:lnTo>
                  <a:pt x="2853" y="25896"/>
                </a:lnTo>
                <a:lnTo>
                  <a:pt x="0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0" name="bk object 90"/>
          <p:cNvSpPr/>
          <p:nvPr/>
        </p:nvSpPr>
        <p:spPr>
          <a:xfrm>
            <a:off x="3799610" y="5922108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5" y="0"/>
                </a:moveTo>
                <a:lnTo>
                  <a:pt x="248" y="266"/>
                </a:lnTo>
                <a:lnTo>
                  <a:pt x="22021" y="16243"/>
                </a:lnTo>
                <a:lnTo>
                  <a:pt x="24891" y="16776"/>
                </a:lnTo>
                <a:lnTo>
                  <a:pt x="25018" y="16497"/>
                </a:lnTo>
                <a:lnTo>
                  <a:pt x="1803" y="1206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1" name="bk object 91"/>
          <p:cNvSpPr/>
          <p:nvPr/>
        </p:nvSpPr>
        <p:spPr>
          <a:xfrm>
            <a:off x="3799661" y="5922151"/>
            <a:ext cx="18805" cy="11845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2" name="bk object 92"/>
          <p:cNvSpPr/>
          <p:nvPr/>
        </p:nvSpPr>
        <p:spPr>
          <a:xfrm>
            <a:off x="3841604" y="5946180"/>
            <a:ext cx="51199" cy="71974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3" name="bk object 93"/>
          <p:cNvSpPr/>
          <p:nvPr/>
        </p:nvSpPr>
        <p:spPr>
          <a:xfrm>
            <a:off x="3851307" y="5949930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39" h="93345">
                <a:moveTo>
                  <a:pt x="0" y="0"/>
                </a:moveTo>
                <a:lnTo>
                  <a:pt x="712" y="12414"/>
                </a:lnTo>
                <a:lnTo>
                  <a:pt x="2787" y="19973"/>
                </a:lnTo>
                <a:lnTo>
                  <a:pt x="5100" y="26499"/>
                </a:lnTo>
                <a:lnTo>
                  <a:pt x="6527" y="35814"/>
                </a:lnTo>
                <a:lnTo>
                  <a:pt x="6527" y="45173"/>
                </a:lnTo>
                <a:lnTo>
                  <a:pt x="8699" y="49047"/>
                </a:lnTo>
                <a:lnTo>
                  <a:pt x="12496" y="54076"/>
                </a:lnTo>
                <a:lnTo>
                  <a:pt x="16887" y="60543"/>
                </a:lnTo>
                <a:lnTo>
                  <a:pt x="19845" y="67119"/>
                </a:lnTo>
                <a:lnTo>
                  <a:pt x="22310" y="73571"/>
                </a:lnTo>
                <a:lnTo>
                  <a:pt x="25222" y="79667"/>
                </a:lnTo>
                <a:lnTo>
                  <a:pt x="31206" y="89185"/>
                </a:lnTo>
                <a:lnTo>
                  <a:pt x="35815" y="92690"/>
                </a:lnTo>
                <a:lnTo>
                  <a:pt x="38779" y="92843"/>
                </a:lnTo>
                <a:lnTo>
                  <a:pt x="39827" y="92303"/>
                </a:lnTo>
                <a:lnTo>
                  <a:pt x="52920" y="64681"/>
                </a:lnTo>
                <a:lnTo>
                  <a:pt x="13131" y="8547"/>
                </a:lnTo>
                <a:lnTo>
                  <a:pt x="0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4" name="bk object 94"/>
          <p:cNvSpPr/>
          <p:nvPr/>
        </p:nvSpPr>
        <p:spPr>
          <a:xfrm>
            <a:off x="3816728" y="5931001"/>
            <a:ext cx="86939" cy="945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5" name="bk object 95"/>
          <p:cNvSpPr/>
          <p:nvPr/>
        </p:nvSpPr>
        <p:spPr>
          <a:xfrm>
            <a:off x="3876438" y="5993604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89" h="39370">
                <a:moveTo>
                  <a:pt x="16634" y="0"/>
                </a:moveTo>
                <a:lnTo>
                  <a:pt x="10680" y="2741"/>
                </a:lnTo>
                <a:lnTo>
                  <a:pt x="7645" y="10374"/>
                </a:lnTo>
                <a:lnTo>
                  <a:pt x="1612" y="18819"/>
                </a:lnTo>
                <a:lnTo>
                  <a:pt x="0" y="20534"/>
                </a:lnTo>
                <a:lnTo>
                  <a:pt x="3695" y="34377"/>
                </a:lnTo>
                <a:lnTo>
                  <a:pt x="12560" y="39114"/>
                </a:lnTo>
                <a:lnTo>
                  <a:pt x="13512" y="38504"/>
                </a:lnTo>
                <a:lnTo>
                  <a:pt x="18565" y="34949"/>
                </a:lnTo>
                <a:lnTo>
                  <a:pt x="23672" y="30670"/>
                </a:lnTo>
                <a:lnTo>
                  <a:pt x="28818" y="25622"/>
                </a:lnTo>
                <a:lnTo>
                  <a:pt x="33985" y="19759"/>
                </a:lnTo>
                <a:lnTo>
                  <a:pt x="33781" y="9671"/>
                </a:lnTo>
                <a:lnTo>
                  <a:pt x="26166" y="2697"/>
                </a:lnTo>
                <a:lnTo>
                  <a:pt x="1663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6" name="bk object 96"/>
          <p:cNvSpPr/>
          <p:nvPr/>
        </p:nvSpPr>
        <p:spPr>
          <a:xfrm>
            <a:off x="3836017" y="5995473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13898" y="32769"/>
                </a:moveTo>
                <a:lnTo>
                  <a:pt x="14960" y="33020"/>
                </a:lnTo>
                <a:lnTo>
                  <a:pt x="21501" y="33591"/>
                </a:lnTo>
                <a:lnTo>
                  <a:pt x="24620" y="33401"/>
                </a:lnTo>
                <a:lnTo>
                  <a:pt x="21501" y="33401"/>
                </a:lnTo>
                <a:lnTo>
                  <a:pt x="13898" y="32769"/>
                </a:lnTo>
                <a:close/>
              </a:path>
              <a:path w="62229" h="33654">
                <a:moveTo>
                  <a:pt x="62217" y="0"/>
                </a:moveTo>
                <a:lnTo>
                  <a:pt x="52260" y="16852"/>
                </a:lnTo>
                <a:lnTo>
                  <a:pt x="48107" y="21882"/>
                </a:lnTo>
                <a:lnTo>
                  <a:pt x="21501" y="33401"/>
                </a:lnTo>
                <a:lnTo>
                  <a:pt x="24828" y="33388"/>
                </a:lnTo>
                <a:lnTo>
                  <a:pt x="56373" y="11633"/>
                </a:lnTo>
                <a:lnTo>
                  <a:pt x="61028" y="3048"/>
                </a:lnTo>
                <a:lnTo>
                  <a:pt x="62217" y="0"/>
                </a:lnTo>
                <a:close/>
              </a:path>
              <a:path w="62229" h="33654">
                <a:moveTo>
                  <a:pt x="2998" y="28469"/>
                </a:moveTo>
                <a:lnTo>
                  <a:pt x="5435" y="30086"/>
                </a:lnTo>
                <a:lnTo>
                  <a:pt x="11722" y="32588"/>
                </a:lnTo>
                <a:lnTo>
                  <a:pt x="13898" y="32769"/>
                </a:lnTo>
                <a:lnTo>
                  <a:pt x="11734" y="32258"/>
                </a:lnTo>
                <a:lnTo>
                  <a:pt x="5600" y="29895"/>
                </a:lnTo>
                <a:lnTo>
                  <a:pt x="2998" y="28469"/>
                </a:lnTo>
                <a:close/>
              </a:path>
              <a:path w="62229" h="33654">
                <a:moveTo>
                  <a:pt x="0" y="26479"/>
                </a:moveTo>
                <a:lnTo>
                  <a:pt x="2705" y="28308"/>
                </a:lnTo>
                <a:lnTo>
                  <a:pt x="2998" y="28469"/>
                </a:lnTo>
                <a:lnTo>
                  <a:pt x="0" y="26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7" name="bk object 97"/>
          <p:cNvSpPr/>
          <p:nvPr/>
        </p:nvSpPr>
        <p:spPr>
          <a:xfrm>
            <a:off x="3880064" y="6009409"/>
            <a:ext cx="18985" cy="3939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8" name="bk object 98"/>
          <p:cNvSpPr/>
          <p:nvPr/>
        </p:nvSpPr>
        <p:spPr>
          <a:xfrm>
            <a:off x="3889556" y="6013489"/>
            <a:ext cx="23408" cy="17750"/>
          </a:xfrm>
          <a:custGeom>
            <a:avLst/>
            <a:gdLst/>
            <a:ahLst/>
            <a:cxnLst/>
            <a:rect l="l" t="t" r="r" b="b"/>
            <a:pathLst>
              <a:path w="29845" h="26034">
                <a:moveTo>
                  <a:pt x="26225" y="0"/>
                </a:moveTo>
                <a:lnTo>
                  <a:pt x="2451" y="2400"/>
                </a:lnTo>
                <a:lnTo>
                  <a:pt x="0" y="10312"/>
                </a:lnTo>
                <a:lnTo>
                  <a:pt x="6781" y="12014"/>
                </a:lnTo>
                <a:lnTo>
                  <a:pt x="7823" y="16903"/>
                </a:lnTo>
                <a:lnTo>
                  <a:pt x="7442" y="19786"/>
                </a:lnTo>
                <a:lnTo>
                  <a:pt x="8839" y="20383"/>
                </a:lnTo>
                <a:lnTo>
                  <a:pt x="10655" y="20967"/>
                </a:lnTo>
                <a:lnTo>
                  <a:pt x="12712" y="25819"/>
                </a:lnTo>
                <a:lnTo>
                  <a:pt x="18326" y="23253"/>
                </a:lnTo>
                <a:lnTo>
                  <a:pt x="19113" y="21018"/>
                </a:lnTo>
                <a:lnTo>
                  <a:pt x="20650" y="20523"/>
                </a:lnTo>
                <a:lnTo>
                  <a:pt x="22097" y="20523"/>
                </a:lnTo>
                <a:lnTo>
                  <a:pt x="23037" y="17932"/>
                </a:lnTo>
                <a:lnTo>
                  <a:pt x="23037" y="13728"/>
                </a:lnTo>
                <a:lnTo>
                  <a:pt x="26276" y="11684"/>
                </a:lnTo>
                <a:lnTo>
                  <a:pt x="29692" y="10312"/>
                </a:lnTo>
                <a:lnTo>
                  <a:pt x="28651" y="5829"/>
                </a:lnTo>
                <a:lnTo>
                  <a:pt x="26225" y="0"/>
                </a:lnTo>
                <a:close/>
              </a:path>
            </a:pathLst>
          </a:custGeom>
          <a:solidFill>
            <a:srgbClr val="6A5551">
              <a:alpha val="5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9" name="bk object 99"/>
          <p:cNvSpPr/>
          <p:nvPr/>
        </p:nvSpPr>
        <p:spPr>
          <a:xfrm>
            <a:off x="3865611" y="5986445"/>
            <a:ext cx="71816" cy="3533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0" name="bk object 100"/>
          <p:cNvSpPr/>
          <p:nvPr/>
        </p:nvSpPr>
        <p:spPr>
          <a:xfrm>
            <a:off x="3890971" y="5996310"/>
            <a:ext cx="20419" cy="3031"/>
          </a:xfrm>
          <a:custGeom>
            <a:avLst/>
            <a:gdLst/>
            <a:ahLst/>
            <a:cxnLst/>
            <a:rect l="l" t="t" r="r" b="b"/>
            <a:pathLst>
              <a:path w="26035" h="4445">
                <a:moveTo>
                  <a:pt x="7099" y="0"/>
                </a:moveTo>
                <a:lnTo>
                  <a:pt x="0" y="0"/>
                </a:lnTo>
                <a:lnTo>
                  <a:pt x="698" y="2159"/>
                </a:lnTo>
                <a:lnTo>
                  <a:pt x="2438" y="2159"/>
                </a:lnTo>
                <a:lnTo>
                  <a:pt x="4368" y="4343"/>
                </a:lnTo>
                <a:lnTo>
                  <a:pt x="23418" y="4343"/>
                </a:lnTo>
                <a:lnTo>
                  <a:pt x="25342" y="2222"/>
                </a:lnTo>
                <a:lnTo>
                  <a:pt x="9893" y="2222"/>
                </a:lnTo>
                <a:lnTo>
                  <a:pt x="7797" y="1879"/>
                </a:lnTo>
                <a:lnTo>
                  <a:pt x="7099" y="0"/>
                </a:lnTo>
                <a:close/>
              </a:path>
              <a:path w="26035" h="4445">
                <a:moveTo>
                  <a:pt x="25768" y="1752"/>
                </a:moveTo>
                <a:lnTo>
                  <a:pt x="9893" y="2222"/>
                </a:lnTo>
                <a:lnTo>
                  <a:pt x="25342" y="2222"/>
                </a:lnTo>
                <a:lnTo>
                  <a:pt x="25768" y="1752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1" name="bk object 101"/>
          <p:cNvSpPr/>
          <p:nvPr/>
        </p:nvSpPr>
        <p:spPr>
          <a:xfrm>
            <a:off x="3905116" y="5993198"/>
            <a:ext cx="5478" cy="4763"/>
          </a:xfrm>
          <a:custGeom>
            <a:avLst/>
            <a:gdLst/>
            <a:ahLst/>
            <a:cxnLst/>
            <a:rect l="l" t="t" r="r" b="b"/>
            <a:pathLst>
              <a:path w="6985" h="6984">
                <a:moveTo>
                  <a:pt x="279" y="0"/>
                </a:moveTo>
                <a:lnTo>
                  <a:pt x="12" y="165"/>
                </a:lnTo>
                <a:lnTo>
                  <a:pt x="6134" y="6756"/>
                </a:lnTo>
                <a:lnTo>
                  <a:pt x="6375" y="6578"/>
                </a:lnTo>
                <a:lnTo>
                  <a:pt x="279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2" name="bk object 102"/>
          <p:cNvSpPr/>
          <p:nvPr/>
        </p:nvSpPr>
        <p:spPr>
          <a:xfrm>
            <a:off x="3904996" y="5989503"/>
            <a:ext cx="498" cy="8659"/>
          </a:xfrm>
          <a:custGeom>
            <a:avLst/>
            <a:gdLst/>
            <a:ahLst/>
            <a:cxnLst/>
            <a:rect l="l" t="t" r="r" b="b"/>
            <a:pathLst>
              <a:path w="635" h="12700">
                <a:moveTo>
                  <a:pt x="266" y="0"/>
                </a:moveTo>
                <a:lnTo>
                  <a:pt x="0" y="0"/>
                </a:lnTo>
                <a:lnTo>
                  <a:pt x="0" y="12611"/>
                </a:lnTo>
                <a:lnTo>
                  <a:pt x="266" y="12611"/>
                </a:lnTo>
                <a:lnTo>
                  <a:pt x="406" y="12522"/>
                </a:lnTo>
                <a:lnTo>
                  <a:pt x="406" y="88"/>
                </a:lnTo>
                <a:lnTo>
                  <a:pt x="2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3" name="bk object 103"/>
          <p:cNvSpPr/>
          <p:nvPr/>
        </p:nvSpPr>
        <p:spPr>
          <a:xfrm>
            <a:off x="3900972" y="5989503"/>
            <a:ext cx="498" cy="8659"/>
          </a:xfrm>
          <a:custGeom>
            <a:avLst/>
            <a:gdLst/>
            <a:ahLst/>
            <a:cxnLst/>
            <a:rect l="l" t="t" r="r" b="b"/>
            <a:pathLst>
              <a:path w="635" h="12700">
                <a:moveTo>
                  <a:pt x="292" y="0"/>
                </a:moveTo>
                <a:lnTo>
                  <a:pt x="0" y="0"/>
                </a:lnTo>
                <a:lnTo>
                  <a:pt x="0" y="12611"/>
                </a:lnTo>
                <a:lnTo>
                  <a:pt x="292" y="12611"/>
                </a:lnTo>
                <a:lnTo>
                  <a:pt x="292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4" name="bk object 104"/>
          <p:cNvSpPr/>
          <p:nvPr/>
        </p:nvSpPr>
        <p:spPr>
          <a:xfrm>
            <a:off x="3891459" y="5990955"/>
            <a:ext cx="7969" cy="6061"/>
          </a:xfrm>
          <a:custGeom>
            <a:avLst/>
            <a:gdLst/>
            <a:ahLst/>
            <a:cxnLst/>
            <a:rect l="l" t="t" r="r" b="b"/>
            <a:pathLst>
              <a:path w="10160" h="8890">
                <a:moveTo>
                  <a:pt x="9766" y="0"/>
                </a:moveTo>
                <a:lnTo>
                  <a:pt x="76" y="8051"/>
                </a:lnTo>
                <a:lnTo>
                  <a:pt x="0" y="8255"/>
                </a:lnTo>
                <a:lnTo>
                  <a:pt x="139" y="8407"/>
                </a:lnTo>
                <a:lnTo>
                  <a:pt x="9842" y="368"/>
                </a:lnTo>
                <a:lnTo>
                  <a:pt x="9893" y="177"/>
                </a:lnTo>
                <a:lnTo>
                  <a:pt x="97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5" name="bk object 105"/>
          <p:cNvSpPr/>
          <p:nvPr/>
        </p:nvSpPr>
        <p:spPr>
          <a:xfrm>
            <a:off x="3898083" y="5995055"/>
            <a:ext cx="498" cy="3464"/>
          </a:xfrm>
          <a:custGeom>
            <a:avLst/>
            <a:gdLst/>
            <a:ahLst/>
            <a:cxnLst/>
            <a:rect l="l" t="t" r="r" b="b"/>
            <a:pathLst>
              <a:path w="635" h="5079">
                <a:moveTo>
                  <a:pt x="330" y="0"/>
                </a:moveTo>
                <a:lnTo>
                  <a:pt x="0" y="0"/>
                </a:lnTo>
                <a:lnTo>
                  <a:pt x="0" y="4787"/>
                </a:lnTo>
                <a:lnTo>
                  <a:pt x="330" y="4787"/>
                </a:lnTo>
                <a:lnTo>
                  <a:pt x="469" y="4762"/>
                </a:lnTo>
                <a:lnTo>
                  <a:pt x="469" y="25"/>
                </a:lnTo>
                <a:lnTo>
                  <a:pt x="33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6" name="bk object 106"/>
          <p:cNvSpPr/>
          <p:nvPr/>
        </p:nvSpPr>
        <p:spPr>
          <a:xfrm>
            <a:off x="3906430" y="5995190"/>
            <a:ext cx="498" cy="3464"/>
          </a:xfrm>
          <a:custGeom>
            <a:avLst/>
            <a:gdLst/>
            <a:ahLst/>
            <a:cxnLst/>
            <a:rect l="l" t="t" r="r" b="b"/>
            <a:pathLst>
              <a:path w="635" h="5079">
                <a:moveTo>
                  <a:pt x="520" y="0"/>
                </a:moveTo>
                <a:lnTo>
                  <a:pt x="139" y="0"/>
                </a:lnTo>
                <a:lnTo>
                  <a:pt x="0" y="38"/>
                </a:lnTo>
                <a:lnTo>
                  <a:pt x="0" y="4762"/>
                </a:lnTo>
                <a:lnTo>
                  <a:pt x="139" y="4800"/>
                </a:lnTo>
                <a:lnTo>
                  <a:pt x="520" y="4800"/>
                </a:lnTo>
                <a:lnTo>
                  <a:pt x="52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7" name="bk object 107"/>
          <p:cNvSpPr/>
          <p:nvPr/>
        </p:nvSpPr>
        <p:spPr>
          <a:xfrm>
            <a:off x="3895952" y="5994065"/>
            <a:ext cx="13496" cy="225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8" name="bk object 108"/>
          <p:cNvSpPr/>
          <p:nvPr/>
        </p:nvSpPr>
        <p:spPr>
          <a:xfrm>
            <a:off x="3905135" y="5989822"/>
            <a:ext cx="1494" cy="866"/>
          </a:xfrm>
          <a:custGeom>
            <a:avLst/>
            <a:gdLst/>
            <a:ahLst/>
            <a:cxnLst/>
            <a:rect l="l" t="t" r="r" b="b"/>
            <a:pathLst>
              <a:path w="1904" h="1270">
                <a:moveTo>
                  <a:pt x="0" y="0"/>
                </a:moveTo>
                <a:lnTo>
                  <a:pt x="0" y="1066"/>
                </a:lnTo>
                <a:lnTo>
                  <a:pt x="1905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9" name="bk object 109"/>
          <p:cNvSpPr/>
          <p:nvPr/>
        </p:nvSpPr>
        <p:spPr>
          <a:xfrm>
            <a:off x="3900882" y="5989822"/>
            <a:ext cx="1992" cy="866"/>
          </a:xfrm>
          <a:custGeom>
            <a:avLst/>
            <a:gdLst/>
            <a:ahLst/>
            <a:cxnLst/>
            <a:rect l="l" t="t" r="r" b="b"/>
            <a:pathLst>
              <a:path w="2539" h="1270">
                <a:moveTo>
                  <a:pt x="0" y="0"/>
                </a:moveTo>
                <a:lnTo>
                  <a:pt x="0" y="1066"/>
                </a:lnTo>
                <a:lnTo>
                  <a:pt x="1930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0" name="bk object 110"/>
          <p:cNvSpPr/>
          <p:nvPr/>
        </p:nvSpPr>
        <p:spPr>
          <a:xfrm>
            <a:off x="3857244" y="5957792"/>
            <a:ext cx="89099" cy="35424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1" name="bk object 111"/>
          <p:cNvSpPr/>
          <p:nvPr/>
        </p:nvSpPr>
        <p:spPr>
          <a:xfrm>
            <a:off x="3893173" y="6010392"/>
            <a:ext cx="17431" cy="3031"/>
          </a:xfrm>
          <a:custGeom>
            <a:avLst/>
            <a:gdLst/>
            <a:ahLst/>
            <a:cxnLst/>
            <a:rect l="l" t="t" r="r" b="b"/>
            <a:pathLst>
              <a:path w="22225" h="4445">
                <a:moveTo>
                  <a:pt x="3352" y="330"/>
                </a:moveTo>
                <a:lnTo>
                  <a:pt x="0" y="330"/>
                </a:lnTo>
                <a:lnTo>
                  <a:pt x="1511" y="2565"/>
                </a:lnTo>
                <a:lnTo>
                  <a:pt x="3797" y="4013"/>
                </a:lnTo>
                <a:lnTo>
                  <a:pt x="18402" y="4013"/>
                </a:lnTo>
                <a:lnTo>
                  <a:pt x="21386" y="2095"/>
                </a:lnTo>
                <a:lnTo>
                  <a:pt x="19177" y="2095"/>
                </a:lnTo>
                <a:lnTo>
                  <a:pt x="4546" y="1828"/>
                </a:lnTo>
                <a:lnTo>
                  <a:pt x="3352" y="330"/>
                </a:lnTo>
                <a:close/>
              </a:path>
              <a:path w="22225" h="4445">
                <a:moveTo>
                  <a:pt x="22085" y="0"/>
                </a:moveTo>
                <a:lnTo>
                  <a:pt x="19177" y="330"/>
                </a:lnTo>
                <a:lnTo>
                  <a:pt x="19177" y="2095"/>
                </a:lnTo>
                <a:lnTo>
                  <a:pt x="21386" y="2095"/>
                </a:lnTo>
                <a:lnTo>
                  <a:pt x="22085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2" name="bk object 112"/>
          <p:cNvSpPr/>
          <p:nvPr/>
        </p:nvSpPr>
        <p:spPr>
          <a:xfrm>
            <a:off x="3897446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3" name="bk object 113"/>
          <p:cNvSpPr/>
          <p:nvPr/>
        </p:nvSpPr>
        <p:spPr>
          <a:xfrm>
            <a:off x="3901341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4" name="bk object 114"/>
          <p:cNvSpPr/>
          <p:nvPr/>
        </p:nvSpPr>
        <p:spPr>
          <a:xfrm>
            <a:off x="3905225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5" name="bk object 115"/>
          <p:cNvSpPr/>
          <p:nvPr/>
        </p:nvSpPr>
        <p:spPr>
          <a:xfrm>
            <a:off x="3898381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71" y="9601"/>
                </a:lnTo>
                <a:lnTo>
                  <a:pt x="749" y="9448"/>
                </a:lnTo>
                <a:lnTo>
                  <a:pt x="749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6" name="bk object 116"/>
          <p:cNvSpPr/>
          <p:nvPr/>
        </p:nvSpPr>
        <p:spPr>
          <a:xfrm>
            <a:off x="3902157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52" y="0"/>
                </a:lnTo>
                <a:lnTo>
                  <a:pt x="0" y="177"/>
                </a:lnTo>
                <a:lnTo>
                  <a:pt x="0" y="9448"/>
                </a:lnTo>
                <a:lnTo>
                  <a:pt x="152" y="9601"/>
                </a:lnTo>
                <a:lnTo>
                  <a:pt x="571" y="9601"/>
                </a:lnTo>
                <a:lnTo>
                  <a:pt x="736" y="9448"/>
                </a:lnTo>
                <a:lnTo>
                  <a:pt x="736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7" name="bk object 117"/>
          <p:cNvSpPr/>
          <p:nvPr/>
        </p:nvSpPr>
        <p:spPr>
          <a:xfrm>
            <a:off x="3905912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84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84" y="9601"/>
                </a:lnTo>
                <a:lnTo>
                  <a:pt x="762" y="9448"/>
                </a:lnTo>
                <a:lnTo>
                  <a:pt x="762" y="177"/>
                </a:lnTo>
                <a:lnTo>
                  <a:pt x="584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8" name="bk object 118"/>
          <p:cNvSpPr/>
          <p:nvPr/>
        </p:nvSpPr>
        <p:spPr>
          <a:xfrm>
            <a:off x="3896947" y="6007167"/>
            <a:ext cx="10987" cy="22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9" name="bk object 119"/>
          <p:cNvSpPr/>
          <p:nvPr/>
        </p:nvSpPr>
        <p:spPr>
          <a:xfrm>
            <a:off x="3898571" y="5966078"/>
            <a:ext cx="6475" cy="12989"/>
          </a:xfrm>
          <a:custGeom>
            <a:avLst/>
            <a:gdLst/>
            <a:ahLst/>
            <a:cxnLst/>
            <a:rect l="l" t="t" r="r" b="b"/>
            <a:pathLst>
              <a:path w="8254" h="19050">
                <a:moveTo>
                  <a:pt x="7294" y="16383"/>
                </a:moveTo>
                <a:lnTo>
                  <a:pt x="4546" y="16383"/>
                </a:lnTo>
                <a:lnTo>
                  <a:pt x="3449" y="16523"/>
                </a:lnTo>
                <a:lnTo>
                  <a:pt x="7861" y="19011"/>
                </a:lnTo>
                <a:lnTo>
                  <a:pt x="7294" y="16383"/>
                </a:lnTo>
                <a:close/>
              </a:path>
              <a:path w="8254" h="19050">
                <a:moveTo>
                  <a:pt x="3759" y="0"/>
                </a:moveTo>
                <a:lnTo>
                  <a:pt x="0" y="16967"/>
                </a:lnTo>
                <a:lnTo>
                  <a:pt x="3449" y="16523"/>
                </a:lnTo>
                <a:lnTo>
                  <a:pt x="3289" y="16433"/>
                </a:lnTo>
                <a:lnTo>
                  <a:pt x="4546" y="16383"/>
                </a:lnTo>
                <a:lnTo>
                  <a:pt x="7294" y="16383"/>
                </a:lnTo>
                <a:lnTo>
                  <a:pt x="3759" y="0"/>
                </a:lnTo>
                <a:close/>
              </a:path>
              <a:path w="8254" h="19050">
                <a:moveTo>
                  <a:pt x="4546" y="16383"/>
                </a:moveTo>
                <a:lnTo>
                  <a:pt x="3289" y="16433"/>
                </a:lnTo>
                <a:lnTo>
                  <a:pt x="3449" y="16523"/>
                </a:lnTo>
                <a:lnTo>
                  <a:pt x="4546" y="16383"/>
                </a:lnTo>
                <a:close/>
              </a:path>
            </a:pathLst>
          </a:custGeom>
          <a:solidFill>
            <a:srgbClr val="6A6C73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0" name="bk object 120"/>
          <p:cNvSpPr/>
          <p:nvPr/>
        </p:nvSpPr>
        <p:spPr>
          <a:xfrm>
            <a:off x="3892753" y="5963014"/>
            <a:ext cx="21635" cy="19838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1" name="bk object 121"/>
          <p:cNvSpPr/>
          <p:nvPr/>
        </p:nvSpPr>
        <p:spPr>
          <a:xfrm>
            <a:off x="3855302" y="5921060"/>
            <a:ext cx="93193" cy="102264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2" name="bk object 122"/>
          <p:cNvSpPr/>
          <p:nvPr/>
        </p:nvSpPr>
        <p:spPr>
          <a:xfrm>
            <a:off x="3855633" y="5912262"/>
            <a:ext cx="92495" cy="4612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3" name="bk object 123"/>
          <p:cNvSpPr/>
          <p:nvPr/>
        </p:nvSpPr>
        <p:spPr>
          <a:xfrm>
            <a:off x="3855401" y="5921502"/>
            <a:ext cx="92635" cy="13422"/>
          </a:xfrm>
          <a:custGeom>
            <a:avLst/>
            <a:gdLst/>
            <a:ahLst/>
            <a:cxnLst/>
            <a:rect l="l" t="t" r="r" b="b"/>
            <a:pathLst>
              <a:path w="118110" h="19684">
                <a:moveTo>
                  <a:pt x="116306" y="0"/>
                </a:moveTo>
                <a:lnTo>
                  <a:pt x="113144" y="0"/>
                </a:lnTo>
                <a:lnTo>
                  <a:pt x="117932" y="508"/>
                </a:lnTo>
                <a:lnTo>
                  <a:pt x="114769" y="508"/>
                </a:lnTo>
                <a:lnTo>
                  <a:pt x="98247" y="11297"/>
                </a:lnTo>
                <a:lnTo>
                  <a:pt x="79913" y="11433"/>
                </a:lnTo>
                <a:lnTo>
                  <a:pt x="65044" y="7030"/>
                </a:lnTo>
                <a:lnTo>
                  <a:pt x="58915" y="4203"/>
                </a:lnTo>
                <a:lnTo>
                  <a:pt x="37084" y="15683"/>
                </a:lnTo>
                <a:lnTo>
                  <a:pt x="23999" y="19124"/>
                </a:lnTo>
                <a:lnTo>
                  <a:pt x="14434" y="14181"/>
                </a:lnTo>
                <a:lnTo>
                  <a:pt x="3162" y="508"/>
                </a:lnTo>
                <a:lnTo>
                  <a:pt x="0" y="508"/>
                </a:lnTo>
              </a:path>
            </a:pathLst>
          </a:custGeom>
          <a:ln w="3175">
            <a:solidFill>
              <a:srgbClr val="BB882C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4" name="bk object 124"/>
          <p:cNvSpPr/>
          <p:nvPr/>
        </p:nvSpPr>
        <p:spPr>
          <a:xfrm>
            <a:off x="3855810" y="5921124"/>
            <a:ext cx="92137" cy="100878"/>
          </a:xfrm>
          <a:custGeom>
            <a:avLst/>
            <a:gdLst/>
            <a:ahLst/>
            <a:cxnLst/>
            <a:rect l="l" t="t" r="r" b="b"/>
            <a:pathLst>
              <a:path w="117475" h="147954">
                <a:moveTo>
                  <a:pt x="59448" y="146748"/>
                </a:moveTo>
                <a:lnTo>
                  <a:pt x="94412" y="113687"/>
                </a:lnTo>
                <a:lnTo>
                  <a:pt x="111467" y="77436"/>
                </a:lnTo>
                <a:lnTo>
                  <a:pt x="116873" y="39154"/>
                </a:lnTo>
                <a:lnTo>
                  <a:pt x="116890" y="0"/>
                </a:lnTo>
                <a:lnTo>
                  <a:pt x="113728" y="0"/>
                </a:lnTo>
                <a:lnTo>
                  <a:pt x="100804" y="9714"/>
                </a:lnTo>
                <a:lnTo>
                  <a:pt x="86061" y="11758"/>
                </a:lnTo>
                <a:lnTo>
                  <a:pt x="58445" y="3848"/>
                </a:lnTo>
                <a:lnTo>
                  <a:pt x="58064" y="4064"/>
                </a:lnTo>
                <a:lnTo>
                  <a:pt x="56870" y="4622"/>
                </a:lnTo>
                <a:lnTo>
                  <a:pt x="47464" y="8429"/>
                </a:lnTo>
                <a:lnTo>
                  <a:pt x="33100" y="11588"/>
                </a:lnTo>
                <a:lnTo>
                  <a:pt x="17192" y="10109"/>
                </a:lnTo>
                <a:lnTo>
                  <a:pt x="3149" y="0"/>
                </a:lnTo>
                <a:lnTo>
                  <a:pt x="0" y="0"/>
                </a:lnTo>
                <a:lnTo>
                  <a:pt x="14" y="39152"/>
                </a:lnTo>
                <a:lnTo>
                  <a:pt x="5413" y="77430"/>
                </a:lnTo>
                <a:lnTo>
                  <a:pt x="22456" y="113676"/>
                </a:lnTo>
                <a:lnTo>
                  <a:pt x="57403" y="146735"/>
                </a:lnTo>
                <a:lnTo>
                  <a:pt x="57861" y="147027"/>
                </a:lnTo>
                <a:lnTo>
                  <a:pt x="58445" y="147447"/>
                </a:lnTo>
                <a:lnTo>
                  <a:pt x="59016" y="147040"/>
                </a:lnTo>
                <a:lnTo>
                  <a:pt x="59448" y="146748"/>
                </a:lnTo>
                <a:close/>
              </a:path>
            </a:pathLst>
          </a:custGeom>
          <a:ln w="3175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5" name="bk object 125"/>
          <p:cNvSpPr/>
          <p:nvPr/>
        </p:nvSpPr>
        <p:spPr>
          <a:xfrm>
            <a:off x="3856009" y="5957654"/>
            <a:ext cx="91638" cy="0"/>
          </a:xfrm>
          <a:custGeom>
            <a:avLst/>
            <a:gdLst/>
            <a:ahLst/>
            <a:cxnLst/>
            <a:rect l="l" t="t" r="r" b="b"/>
            <a:pathLst>
              <a:path w="116839">
                <a:moveTo>
                  <a:pt x="0" y="0"/>
                </a:moveTo>
                <a:lnTo>
                  <a:pt x="11634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6" name="bk object 126"/>
          <p:cNvSpPr/>
          <p:nvPr/>
        </p:nvSpPr>
        <p:spPr>
          <a:xfrm>
            <a:off x="3865501" y="5986705"/>
            <a:ext cx="73212" cy="0"/>
          </a:xfrm>
          <a:custGeom>
            <a:avLst/>
            <a:gdLst/>
            <a:ahLst/>
            <a:cxnLst/>
            <a:rect l="l" t="t" r="r" b="b"/>
            <a:pathLst>
              <a:path w="93345">
                <a:moveTo>
                  <a:pt x="0" y="0"/>
                </a:moveTo>
                <a:lnTo>
                  <a:pt x="9301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7" name="bk object 127"/>
          <p:cNvSpPr/>
          <p:nvPr/>
        </p:nvSpPr>
        <p:spPr>
          <a:xfrm>
            <a:off x="3853951" y="5918869"/>
            <a:ext cx="47812" cy="104775"/>
          </a:xfrm>
          <a:custGeom>
            <a:avLst/>
            <a:gdLst/>
            <a:ahLst/>
            <a:cxnLst/>
            <a:rect l="l" t="t" r="r" b="b"/>
            <a:pathLst>
              <a:path w="60960" h="153670">
                <a:moveTo>
                  <a:pt x="400" y="25"/>
                </a:moveTo>
                <a:lnTo>
                  <a:pt x="94" y="10920"/>
                </a:lnTo>
                <a:lnTo>
                  <a:pt x="0" y="36372"/>
                </a:lnTo>
                <a:lnTo>
                  <a:pt x="171" y="43649"/>
                </a:lnTo>
                <a:lnTo>
                  <a:pt x="7118" y="86626"/>
                </a:lnTo>
                <a:lnTo>
                  <a:pt x="28086" y="124637"/>
                </a:lnTo>
                <a:lnTo>
                  <a:pt x="60814" y="153327"/>
                </a:lnTo>
                <a:lnTo>
                  <a:pt x="54769" y="149275"/>
                </a:lnTo>
                <a:lnTo>
                  <a:pt x="48939" y="144881"/>
                </a:lnTo>
                <a:lnTo>
                  <a:pt x="37992" y="135318"/>
                </a:lnTo>
                <a:lnTo>
                  <a:pt x="32874" y="130136"/>
                </a:lnTo>
                <a:lnTo>
                  <a:pt x="28251" y="124523"/>
                </a:lnTo>
                <a:lnTo>
                  <a:pt x="23603" y="118922"/>
                </a:lnTo>
                <a:lnTo>
                  <a:pt x="19475" y="112903"/>
                </a:lnTo>
                <a:lnTo>
                  <a:pt x="15995" y="106540"/>
                </a:lnTo>
                <a:lnTo>
                  <a:pt x="12465" y="100164"/>
                </a:lnTo>
                <a:lnTo>
                  <a:pt x="1043" y="54530"/>
                </a:lnTo>
                <a:lnTo>
                  <a:pt x="57" y="36372"/>
                </a:lnTo>
                <a:lnTo>
                  <a:pt x="162" y="10920"/>
                </a:lnTo>
                <a:lnTo>
                  <a:pt x="400" y="25"/>
                </a:lnTo>
                <a:close/>
              </a:path>
              <a:path w="60960" h="153670">
                <a:moveTo>
                  <a:pt x="933" y="12"/>
                </a:moveTo>
                <a:lnTo>
                  <a:pt x="400" y="25"/>
                </a:lnTo>
                <a:lnTo>
                  <a:pt x="933" y="25"/>
                </a:lnTo>
                <a:lnTo>
                  <a:pt x="1771" y="127"/>
                </a:lnTo>
                <a:lnTo>
                  <a:pt x="933" y="12"/>
                </a:lnTo>
                <a:close/>
              </a:path>
              <a:path w="60960" h="153670">
                <a:moveTo>
                  <a:pt x="387" y="0"/>
                </a:moveTo>
                <a:lnTo>
                  <a:pt x="933" y="12"/>
                </a:lnTo>
                <a:lnTo>
                  <a:pt x="3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8" name="bk object 128"/>
          <p:cNvSpPr/>
          <p:nvPr/>
        </p:nvSpPr>
        <p:spPr>
          <a:xfrm>
            <a:off x="3858528" y="5919432"/>
            <a:ext cx="43329" cy="8659"/>
          </a:xfrm>
          <a:custGeom>
            <a:avLst/>
            <a:gdLst/>
            <a:ahLst/>
            <a:cxnLst/>
            <a:rect l="l" t="t" r="r" b="b"/>
            <a:pathLst>
              <a:path w="55245" h="12700">
                <a:moveTo>
                  <a:pt x="8236" y="7788"/>
                </a:moveTo>
                <a:lnTo>
                  <a:pt x="9245" y="8420"/>
                </a:lnTo>
                <a:lnTo>
                  <a:pt x="16103" y="11569"/>
                </a:lnTo>
                <a:lnTo>
                  <a:pt x="21209" y="12420"/>
                </a:lnTo>
                <a:lnTo>
                  <a:pt x="31267" y="12255"/>
                </a:lnTo>
                <a:lnTo>
                  <a:pt x="31595" y="12191"/>
                </a:lnTo>
                <a:lnTo>
                  <a:pt x="21234" y="12191"/>
                </a:lnTo>
                <a:lnTo>
                  <a:pt x="16167" y="11366"/>
                </a:lnTo>
                <a:lnTo>
                  <a:pt x="8236" y="7788"/>
                </a:lnTo>
                <a:close/>
              </a:path>
              <a:path w="55245" h="12700">
                <a:moveTo>
                  <a:pt x="54889" y="3975"/>
                </a:moveTo>
                <a:lnTo>
                  <a:pt x="21234" y="12191"/>
                </a:lnTo>
                <a:lnTo>
                  <a:pt x="31595" y="12191"/>
                </a:lnTo>
                <a:lnTo>
                  <a:pt x="36258" y="11290"/>
                </a:lnTo>
                <a:lnTo>
                  <a:pt x="45847" y="8369"/>
                </a:lnTo>
                <a:lnTo>
                  <a:pt x="50495" y="6388"/>
                </a:lnTo>
                <a:lnTo>
                  <a:pt x="54889" y="3975"/>
                </a:lnTo>
                <a:close/>
              </a:path>
              <a:path w="55245" h="12700">
                <a:moveTo>
                  <a:pt x="1746" y="2260"/>
                </a:moveTo>
                <a:lnTo>
                  <a:pt x="3076" y="3975"/>
                </a:lnTo>
                <a:lnTo>
                  <a:pt x="7035" y="7251"/>
                </a:lnTo>
                <a:lnTo>
                  <a:pt x="8236" y="7788"/>
                </a:lnTo>
                <a:lnTo>
                  <a:pt x="7073" y="7061"/>
                </a:lnTo>
                <a:lnTo>
                  <a:pt x="3225" y="3860"/>
                </a:lnTo>
                <a:lnTo>
                  <a:pt x="1746" y="2260"/>
                </a:lnTo>
                <a:close/>
              </a:path>
              <a:path w="55245" h="12700">
                <a:moveTo>
                  <a:pt x="0" y="0"/>
                </a:moveTo>
                <a:lnTo>
                  <a:pt x="1511" y="2006"/>
                </a:lnTo>
                <a:lnTo>
                  <a:pt x="1746" y="226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9" name="bk object 129"/>
          <p:cNvSpPr/>
          <p:nvPr/>
        </p:nvSpPr>
        <p:spPr>
          <a:xfrm>
            <a:off x="3901649" y="5919432"/>
            <a:ext cx="43827" cy="8659"/>
          </a:xfrm>
          <a:custGeom>
            <a:avLst/>
            <a:gdLst/>
            <a:ahLst/>
            <a:cxnLst/>
            <a:rect l="l" t="t" r="r" b="b"/>
            <a:pathLst>
              <a:path w="55879" h="12700">
                <a:moveTo>
                  <a:pt x="0" y="3975"/>
                </a:moveTo>
                <a:lnTo>
                  <a:pt x="34099" y="12484"/>
                </a:lnTo>
                <a:lnTo>
                  <a:pt x="35295" y="12255"/>
                </a:lnTo>
                <a:lnTo>
                  <a:pt x="34074" y="12255"/>
                </a:lnTo>
                <a:lnTo>
                  <a:pt x="29006" y="12166"/>
                </a:lnTo>
                <a:lnTo>
                  <a:pt x="23939" y="12128"/>
                </a:lnTo>
                <a:lnTo>
                  <a:pt x="18935" y="11125"/>
                </a:lnTo>
                <a:lnTo>
                  <a:pt x="14109" y="9639"/>
                </a:lnTo>
                <a:lnTo>
                  <a:pt x="11671" y="8915"/>
                </a:lnTo>
                <a:lnTo>
                  <a:pt x="9296" y="8039"/>
                </a:lnTo>
                <a:lnTo>
                  <a:pt x="4584" y="6159"/>
                </a:lnTo>
                <a:lnTo>
                  <a:pt x="2260" y="5156"/>
                </a:lnTo>
                <a:lnTo>
                  <a:pt x="0" y="3975"/>
                </a:lnTo>
                <a:close/>
              </a:path>
              <a:path w="55879" h="12700">
                <a:moveTo>
                  <a:pt x="47103" y="7627"/>
                </a:moveTo>
                <a:lnTo>
                  <a:pt x="39166" y="11315"/>
                </a:lnTo>
                <a:lnTo>
                  <a:pt x="34074" y="12255"/>
                </a:lnTo>
                <a:lnTo>
                  <a:pt x="35295" y="12255"/>
                </a:lnTo>
                <a:lnTo>
                  <a:pt x="39217" y="11506"/>
                </a:lnTo>
                <a:lnTo>
                  <a:pt x="46126" y="8242"/>
                </a:lnTo>
                <a:lnTo>
                  <a:pt x="47103" y="7627"/>
                </a:lnTo>
                <a:close/>
              </a:path>
              <a:path w="55879" h="12700">
                <a:moveTo>
                  <a:pt x="53659" y="2351"/>
                </a:moveTo>
                <a:lnTo>
                  <a:pt x="52273" y="3708"/>
                </a:lnTo>
                <a:lnTo>
                  <a:pt x="48285" y="6883"/>
                </a:lnTo>
                <a:lnTo>
                  <a:pt x="47103" y="7627"/>
                </a:lnTo>
                <a:lnTo>
                  <a:pt x="48348" y="7048"/>
                </a:lnTo>
                <a:lnTo>
                  <a:pt x="52387" y="3797"/>
                </a:lnTo>
                <a:lnTo>
                  <a:pt x="53659" y="2351"/>
                </a:lnTo>
                <a:close/>
              </a:path>
              <a:path w="55879" h="12700">
                <a:moveTo>
                  <a:pt x="55727" y="0"/>
                </a:moveTo>
                <a:lnTo>
                  <a:pt x="53659" y="2351"/>
                </a:lnTo>
                <a:lnTo>
                  <a:pt x="54089" y="1930"/>
                </a:lnTo>
                <a:lnTo>
                  <a:pt x="5572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0" name="bk object 130"/>
          <p:cNvSpPr/>
          <p:nvPr/>
        </p:nvSpPr>
        <p:spPr>
          <a:xfrm>
            <a:off x="3901649" y="5919558"/>
            <a:ext cx="47812" cy="104342"/>
          </a:xfrm>
          <a:custGeom>
            <a:avLst/>
            <a:gdLst/>
            <a:ahLst/>
            <a:cxnLst/>
            <a:rect l="l" t="t" r="r" b="b"/>
            <a:pathLst>
              <a:path w="60960" h="153034">
                <a:moveTo>
                  <a:pt x="60463" y="9205"/>
                </a:moveTo>
                <a:lnTo>
                  <a:pt x="59202" y="55134"/>
                </a:lnTo>
                <a:lnTo>
                  <a:pt x="48982" y="96839"/>
                </a:lnTo>
                <a:lnTo>
                  <a:pt x="27711" y="129705"/>
                </a:lnTo>
                <a:lnTo>
                  <a:pt x="0" y="152425"/>
                </a:lnTo>
                <a:lnTo>
                  <a:pt x="11721" y="143992"/>
                </a:lnTo>
                <a:lnTo>
                  <a:pt x="38978" y="115590"/>
                </a:lnTo>
                <a:lnTo>
                  <a:pt x="55372" y="79971"/>
                </a:lnTo>
                <a:lnTo>
                  <a:pt x="60602" y="33672"/>
                </a:lnTo>
                <a:lnTo>
                  <a:pt x="60553" y="12142"/>
                </a:lnTo>
                <a:lnTo>
                  <a:pt x="60463" y="9205"/>
                </a:lnTo>
                <a:close/>
              </a:path>
              <a:path w="60960" h="153034">
                <a:moveTo>
                  <a:pt x="60223" y="1384"/>
                </a:moveTo>
                <a:lnTo>
                  <a:pt x="60357" y="5763"/>
                </a:lnTo>
                <a:lnTo>
                  <a:pt x="60223" y="1384"/>
                </a:lnTo>
                <a:close/>
              </a:path>
              <a:path w="60960" h="153034">
                <a:moveTo>
                  <a:pt x="60210" y="1384"/>
                </a:moveTo>
                <a:close/>
              </a:path>
              <a:path w="60960" h="153034">
                <a:moveTo>
                  <a:pt x="58496" y="0"/>
                </a:moveTo>
                <a:lnTo>
                  <a:pt x="58915" y="622"/>
                </a:lnTo>
                <a:lnTo>
                  <a:pt x="59499" y="1168"/>
                </a:lnTo>
                <a:lnTo>
                  <a:pt x="60171" y="1384"/>
                </a:lnTo>
                <a:lnTo>
                  <a:pt x="59512" y="1155"/>
                </a:lnTo>
                <a:lnTo>
                  <a:pt x="58915" y="609"/>
                </a:lnTo>
                <a:lnTo>
                  <a:pt x="584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1" name="bk object 131"/>
          <p:cNvSpPr/>
          <p:nvPr/>
        </p:nvSpPr>
        <p:spPr>
          <a:xfrm>
            <a:off x="3841237" y="5881601"/>
            <a:ext cx="121402" cy="47218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2" name="bk object 132"/>
          <p:cNvSpPr/>
          <p:nvPr/>
        </p:nvSpPr>
        <p:spPr>
          <a:xfrm>
            <a:off x="3888341" y="5914202"/>
            <a:ext cx="4243" cy="12114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3" name="bk object 133"/>
          <p:cNvSpPr/>
          <p:nvPr/>
        </p:nvSpPr>
        <p:spPr>
          <a:xfrm>
            <a:off x="3889238" y="592374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2364" y="3009"/>
                </a:moveTo>
                <a:lnTo>
                  <a:pt x="647" y="3009"/>
                </a:lnTo>
                <a:lnTo>
                  <a:pt x="1689" y="3098"/>
                </a:lnTo>
                <a:lnTo>
                  <a:pt x="2298" y="3505"/>
                </a:lnTo>
                <a:lnTo>
                  <a:pt x="2364" y="3009"/>
                </a:lnTo>
                <a:close/>
              </a:path>
              <a:path w="3175" h="3809">
                <a:moveTo>
                  <a:pt x="1511" y="0"/>
                </a:moveTo>
                <a:lnTo>
                  <a:pt x="1270" y="711"/>
                </a:lnTo>
                <a:lnTo>
                  <a:pt x="774" y="1943"/>
                </a:lnTo>
                <a:lnTo>
                  <a:pt x="0" y="2362"/>
                </a:lnTo>
                <a:lnTo>
                  <a:pt x="749" y="3200"/>
                </a:lnTo>
                <a:lnTo>
                  <a:pt x="647" y="3009"/>
                </a:lnTo>
                <a:lnTo>
                  <a:pt x="2364" y="3009"/>
                </a:lnTo>
                <a:lnTo>
                  <a:pt x="2540" y="1689"/>
                </a:lnTo>
                <a:lnTo>
                  <a:pt x="2654" y="1384"/>
                </a:lnTo>
                <a:lnTo>
                  <a:pt x="2781" y="495"/>
                </a:lnTo>
                <a:lnTo>
                  <a:pt x="151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4" name="bk object 134"/>
          <p:cNvSpPr/>
          <p:nvPr/>
        </p:nvSpPr>
        <p:spPr>
          <a:xfrm>
            <a:off x="3889278" y="5923710"/>
            <a:ext cx="2201" cy="237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5" name="bk object 135"/>
          <p:cNvSpPr/>
          <p:nvPr/>
        </p:nvSpPr>
        <p:spPr>
          <a:xfrm>
            <a:off x="3889447" y="5922558"/>
            <a:ext cx="1992" cy="2598"/>
          </a:xfrm>
          <a:custGeom>
            <a:avLst/>
            <a:gdLst/>
            <a:ahLst/>
            <a:cxnLst/>
            <a:rect l="l" t="t" r="r" b="b"/>
            <a:pathLst>
              <a:path w="2539" h="3809">
                <a:moveTo>
                  <a:pt x="2393" y="3428"/>
                </a:moveTo>
                <a:lnTo>
                  <a:pt x="1727" y="3428"/>
                </a:lnTo>
                <a:lnTo>
                  <a:pt x="2387" y="3759"/>
                </a:lnTo>
                <a:lnTo>
                  <a:pt x="2393" y="3428"/>
                </a:lnTo>
                <a:close/>
              </a:path>
              <a:path w="2539" h="3809">
                <a:moveTo>
                  <a:pt x="1206" y="0"/>
                </a:moveTo>
                <a:lnTo>
                  <a:pt x="698" y="2311"/>
                </a:lnTo>
                <a:lnTo>
                  <a:pt x="0" y="2895"/>
                </a:lnTo>
                <a:lnTo>
                  <a:pt x="838" y="3708"/>
                </a:lnTo>
                <a:lnTo>
                  <a:pt x="698" y="3517"/>
                </a:lnTo>
                <a:lnTo>
                  <a:pt x="1727" y="3428"/>
                </a:lnTo>
                <a:lnTo>
                  <a:pt x="2393" y="3428"/>
                </a:lnTo>
                <a:lnTo>
                  <a:pt x="2501" y="342"/>
                </a:lnTo>
                <a:lnTo>
                  <a:pt x="1206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6" name="bk object 136"/>
          <p:cNvSpPr/>
          <p:nvPr/>
        </p:nvSpPr>
        <p:spPr>
          <a:xfrm>
            <a:off x="3889467" y="5922454"/>
            <a:ext cx="1982" cy="258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7" name="bk object 137"/>
          <p:cNvSpPr/>
          <p:nvPr/>
        </p:nvSpPr>
        <p:spPr>
          <a:xfrm>
            <a:off x="3889448" y="5921658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62"/>
                </a:lnTo>
                <a:lnTo>
                  <a:pt x="0" y="3048"/>
                </a:lnTo>
                <a:lnTo>
                  <a:pt x="1041" y="3721"/>
                </a:lnTo>
                <a:lnTo>
                  <a:pt x="850" y="3568"/>
                </a:lnTo>
                <a:lnTo>
                  <a:pt x="1422" y="3454"/>
                </a:lnTo>
                <a:lnTo>
                  <a:pt x="1981" y="3314"/>
                </a:lnTo>
                <a:lnTo>
                  <a:pt x="2697" y="3314"/>
                </a:lnTo>
                <a:lnTo>
                  <a:pt x="2575" y="2362"/>
                </a:lnTo>
                <a:lnTo>
                  <a:pt x="2463" y="1155"/>
                </a:lnTo>
                <a:lnTo>
                  <a:pt x="2387" y="762"/>
                </a:lnTo>
                <a:lnTo>
                  <a:pt x="2324" y="152"/>
                </a:lnTo>
                <a:lnTo>
                  <a:pt x="850" y="0"/>
                </a:lnTo>
                <a:close/>
              </a:path>
              <a:path w="3175" h="3809">
                <a:moveTo>
                  <a:pt x="2697" y="3314"/>
                </a:moveTo>
                <a:lnTo>
                  <a:pt x="1981" y="3314"/>
                </a:lnTo>
                <a:lnTo>
                  <a:pt x="2730" y="3568"/>
                </a:lnTo>
                <a:lnTo>
                  <a:pt x="2697" y="3314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8" name="bk object 138"/>
          <p:cNvSpPr/>
          <p:nvPr/>
        </p:nvSpPr>
        <p:spPr>
          <a:xfrm>
            <a:off x="3889448" y="5921493"/>
            <a:ext cx="2151" cy="265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9" name="bk object 139"/>
          <p:cNvSpPr/>
          <p:nvPr/>
        </p:nvSpPr>
        <p:spPr>
          <a:xfrm>
            <a:off x="3889477" y="592052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76" y="0"/>
                </a:moveTo>
                <a:lnTo>
                  <a:pt x="660" y="2349"/>
                </a:lnTo>
                <a:lnTo>
                  <a:pt x="0" y="3035"/>
                </a:lnTo>
                <a:lnTo>
                  <a:pt x="1054" y="3721"/>
                </a:lnTo>
                <a:lnTo>
                  <a:pt x="876" y="3543"/>
                </a:lnTo>
                <a:lnTo>
                  <a:pt x="1993" y="3327"/>
                </a:lnTo>
                <a:lnTo>
                  <a:pt x="2727" y="3327"/>
                </a:lnTo>
                <a:lnTo>
                  <a:pt x="2349" y="139"/>
                </a:lnTo>
                <a:lnTo>
                  <a:pt x="876" y="0"/>
                </a:lnTo>
                <a:close/>
              </a:path>
              <a:path w="3175" h="3809">
                <a:moveTo>
                  <a:pt x="2727" y="3327"/>
                </a:moveTo>
                <a:lnTo>
                  <a:pt x="1993" y="3327"/>
                </a:lnTo>
                <a:lnTo>
                  <a:pt x="2755" y="3555"/>
                </a:lnTo>
                <a:lnTo>
                  <a:pt x="2727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0" name="bk object 140"/>
          <p:cNvSpPr/>
          <p:nvPr/>
        </p:nvSpPr>
        <p:spPr>
          <a:xfrm>
            <a:off x="3889467" y="5920359"/>
            <a:ext cx="2171" cy="265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1" name="bk object 141"/>
          <p:cNvSpPr/>
          <p:nvPr/>
        </p:nvSpPr>
        <p:spPr>
          <a:xfrm>
            <a:off x="3889547" y="591956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49"/>
                </a:lnTo>
                <a:lnTo>
                  <a:pt x="0" y="3047"/>
                </a:lnTo>
                <a:lnTo>
                  <a:pt x="1028" y="3721"/>
                </a:lnTo>
                <a:lnTo>
                  <a:pt x="850" y="3543"/>
                </a:lnTo>
                <a:lnTo>
                  <a:pt x="1968" y="3314"/>
                </a:lnTo>
                <a:lnTo>
                  <a:pt x="2675" y="3314"/>
                </a:lnTo>
                <a:lnTo>
                  <a:pt x="2550" y="2349"/>
                </a:lnTo>
                <a:lnTo>
                  <a:pt x="2438" y="1130"/>
                </a:lnTo>
                <a:lnTo>
                  <a:pt x="2311" y="152"/>
                </a:lnTo>
                <a:lnTo>
                  <a:pt x="850" y="0"/>
                </a:lnTo>
                <a:close/>
              </a:path>
              <a:path w="3175" h="3809">
                <a:moveTo>
                  <a:pt x="2675" y="3314"/>
                </a:moveTo>
                <a:lnTo>
                  <a:pt x="1968" y="3314"/>
                </a:lnTo>
                <a:lnTo>
                  <a:pt x="2705" y="3543"/>
                </a:lnTo>
                <a:lnTo>
                  <a:pt x="2675" y="3314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2" name="bk object 142"/>
          <p:cNvSpPr/>
          <p:nvPr/>
        </p:nvSpPr>
        <p:spPr>
          <a:xfrm>
            <a:off x="3889556" y="5919397"/>
            <a:ext cx="2111" cy="263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3" name="bk object 143"/>
          <p:cNvSpPr/>
          <p:nvPr/>
        </p:nvSpPr>
        <p:spPr>
          <a:xfrm>
            <a:off x="3889488" y="5918609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92" y="1485"/>
                </a:lnTo>
                <a:lnTo>
                  <a:pt x="698" y="2336"/>
                </a:lnTo>
                <a:lnTo>
                  <a:pt x="0" y="3009"/>
                </a:lnTo>
                <a:lnTo>
                  <a:pt x="1092" y="3695"/>
                </a:lnTo>
                <a:lnTo>
                  <a:pt x="901" y="3530"/>
                </a:lnTo>
                <a:lnTo>
                  <a:pt x="1498" y="3428"/>
                </a:lnTo>
                <a:lnTo>
                  <a:pt x="2057" y="3301"/>
                </a:lnTo>
                <a:lnTo>
                  <a:pt x="2823" y="3301"/>
                </a:lnTo>
                <a:lnTo>
                  <a:pt x="2686" y="2336"/>
                </a:lnTo>
                <a:lnTo>
                  <a:pt x="2565" y="1142"/>
                </a:lnTo>
                <a:lnTo>
                  <a:pt x="2489" y="736"/>
                </a:lnTo>
                <a:lnTo>
                  <a:pt x="2413" y="139"/>
                </a:lnTo>
                <a:lnTo>
                  <a:pt x="914" y="0"/>
                </a:lnTo>
                <a:close/>
              </a:path>
              <a:path w="3175" h="3809">
                <a:moveTo>
                  <a:pt x="2823" y="3301"/>
                </a:moveTo>
                <a:lnTo>
                  <a:pt x="2057" y="3301"/>
                </a:lnTo>
                <a:lnTo>
                  <a:pt x="2857" y="3543"/>
                </a:lnTo>
                <a:lnTo>
                  <a:pt x="2823" y="3301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4" name="bk object 144"/>
          <p:cNvSpPr/>
          <p:nvPr/>
        </p:nvSpPr>
        <p:spPr>
          <a:xfrm>
            <a:off x="3889477" y="5918437"/>
            <a:ext cx="17730" cy="14408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5" name="bk object 145"/>
          <p:cNvSpPr/>
          <p:nvPr/>
        </p:nvSpPr>
        <p:spPr>
          <a:xfrm>
            <a:off x="3889448" y="591763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23" y="2349"/>
                </a:lnTo>
                <a:lnTo>
                  <a:pt x="0" y="3035"/>
                </a:lnTo>
                <a:lnTo>
                  <a:pt x="1104" y="3721"/>
                </a:lnTo>
                <a:lnTo>
                  <a:pt x="914" y="3543"/>
                </a:lnTo>
                <a:lnTo>
                  <a:pt x="2095" y="3327"/>
                </a:lnTo>
                <a:lnTo>
                  <a:pt x="2848" y="3327"/>
                </a:lnTo>
                <a:lnTo>
                  <a:pt x="2710" y="2349"/>
                </a:lnTo>
                <a:lnTo>
                  <a:pt x="2590" y="1143"/>
                </a:lnTo>
                <a:lnTo>
                  <a:pt x="2514" y="749"/>
                </a:lnTo>
                <a:lnTo>
                  <a:pt x="2438" y="139"/>
                </a:lnTo>
                <a:lnTo>
                  <a:pt x="914" y="0"/>
                </a:lnTo>
                <a:close/>
              </a:path>
              <a:path w="3175" h="3809">
                <a:moveTo>
                  <a:pt x="2848" y="3327"/>
                </a:moveTo>
                <a:lnTo>
                  <a:pt x="2095" y="3327"/>
                </a:lnTo>
                <a:lnTo>
                  <a:pt x="2882" y="3568"/>
                </a:lnTo>
                <a:lnTo>
                  <a:pt x="2848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6" name="bk object 146"/>
          <p:cNvSpPr/>
          <p:nvPr/>
        </p:nvSpPr>
        <p:spPr>
          <a:xfrm>
            <a:off x="3889447" y="5917467"/>
            <a:ext cx="2260" cy="264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7" name="bk object 147"/>
          <p:cNvSpPr/>
          <p:nvPr/>
        </p:nvSpPr>
        <p:spPr>
          <a:xfrm>
            <a:off x="3889288" y="5916635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06" y="0"/>
                </a:moveTo>
                <a:lnTo>
                  <a:pt x="1104" y="850"/>
                </a:lnTo>
                <a:lnTo>
                  <a:pt x="825" y="2336"/>
                </a:lnTo>
                <a:lnTo>
                  <a:pt x="0" y="2946"/>
                </a:lnTo>
                <a:lnTo>
                  <a:pt x="649" y="3403"/>
                </a:lnTo>
                <a:lnTo>
                  <a:pt x="1142" y="3721"/>
                </a:lnTo>
                <a:lnTo>
                  <a:pt x="952" y="3543"/>
                </a:lnTo>
                <a:lnTo>
                  <a:pt x="2260" y="3403"/>
                </a:lnTo>
                <a:lnTo>
                  <a:pt x="3111" y="3403"/>
                </a:lnTo>
                <a:lnTo>
                  <a:pt x="3020" y="2336"/>
                </a:lnTo>
                <a:lnTo>
                  <a:pt x="2908" y="279"/>
                </a:lnTo>
                <a:lnTo>
                  <a:pt x="1206" y="0"/>
                </a:lnTo>
                <a:close/>
              </a:path>
              <a:path w="3175" h="3809">
                <a:moveTo>
                  <a:pt x="3111" y="3403"/>
                </a:moveTo>
                <a:lnTo>
                  <a:pt x="2260" y="3403"/>
                </a:lnTo>
                <a:lnTo>
                  <a:pt x="3136" y="3695"/>
                </a:lnTo>
                <a:lnTo>
                  <a:pt x="3111" y="3403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8" name="bk object 148"/>
          <p:cNvSpPr/>
          <p:nvPr/>
        </p:nvSpPr>
        <p:spPr>
          <a:xfrm>
            <a:off x="3889287" y="5916505"/>
            <a:ext cx="2440" cy="260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9" name="bk object 149"/>
          <p:cNvSpPr/>
          <p:nvPr/>
        </p:nvSpPr>
        <p:spPr>
          <a:xfrm>
            <a:off x="3889348" y="591568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25" y="2311"/>
                </a:lnTo>
                <a:lnTo>
                  <a:pt x="0" y="2946"/>
                </a:lnTo>
                <a:lnTo>
                  <a:pt x="1155" y="3708"/>
                </a:lnTo>
                <a:lnTo>
                  <a:pt x="965" y="3530"/>
                </a:lnTo>
                <a:lnTo>
                  <a:pt x="2273" y="3390"/>
                </a:lnTo>
                <a:lnTo>
                  <a:pt x="3121" y="3390"/>
                </a:lnTo>
                <a:lnTo>
                  <a:pt x="3022" y="2311"/>
                </a:lnTo>
                <a:lnTo>
                  <a:pt x="2920" y="253"/>
                </a:lnTo>
                <a:lnTo>
                  <a:pt x="1231" y="0"/>
                </a:lnTo>
                <a:close/>
              </a:path>
              <a:path w="3175" h="3809">
                <a:moveTo>
                  <a:pt x="3121" y="3390"/>
                </a:moveTo>
                <a:lnTo>
                  <a:pt x="2273" y="3390"/>
                </a:lnTo>
                <a:lnTo>
                  <a:pt x="3149" y="3695"/>
                </a:lnTo>
                <a:lnTo>
                  <a:pt x="3121" y="339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0" name="bk object 150"/>
          <p:cNvSpPr/>
          <p:nvPr/>
        </p:nvSpPr>
        <p:spPr>
          <a:xfrm>
            <a:off x="3889367" y="5915553"/>
            <a:ext cx="2460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1" name="bk object 151"/>
          <p:cNvSpPr/>
          <p:nvPr/>
        </p:nvSpPr>
        <p:spPr>
          <a:xfrm>
            <a:off x="3889477" y="5914696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12" y="2336"/>
                </a:lnTo>
                <a:lnTo>
                  <a:pt x="0" y="2933"/>
                </a:lnTo>
                <a:lnTo>
                  <a:pt x="1066" y="3733"/>
                </a:lnTo>
                <a:lnTo>
                  <a:pt x="914" y="3543"/>
                </a:lnTo>
                <a:lnTo>
                  <a:pt x="2120" y="3416"/>
                </a:lnTo>
                <a:lnTo>
                  <a:pt x="2916" y="3416"/>
                </a:lnTo>
                <a:lnTo>
                  <a:pt x="2793" y="292"/>
                </a:lnTo>
                <a:lnTo>
                  <a:pt x="1231" y="0"/>
                </a:lnTo>
                <a:close/>
              </a:path>
              <a:path w="3175" h="3809">
                <a:moveTo>
                  <a:pt x="2916" y="3416"/>
                </a:moveTo>
                <a:lnTo>
                  <a:pt x="2120" y="3416"/>
                </a:lnTo>
                <a:lnTo>
                  <a:pt x="2933" y="3733"/>
                </a:lnTo>
                <a:lnTo>
                  <a:pt x="2916" y="3416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2" name="bk object 152"/>
          <p:cNvSpPr/>
          <p:nvPr/>
        </p:nvSpPr>
        <p:spPr>
          <a:xfrm>
            <a:off x="3889507" y="5914584"/>
            <a:ext cx="2271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3" name="bk object 153"/>
          <p:cNvSpPr/>
          <p:nvPr/>
        </p:nvSpPr>
        <p:spPr>
          <a:xfrm>
            <a:off x="3889457" y="591376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117" y="0"/>
                </a:moveTo>
                <a:lnTo>
                  <a:pt x="787" y="2324"/>
                </a:lnTo>
                <a:lnTo>
                  <a:pt x="0" y="2971"/>
                </a:lnTo>
                <a:lnTo>
                  <a:pt x="1117" y="3721"/>
                </a:lnTo>
                <a:lnTo>
                  <a:pt x="939" y="3543"/>
                </a:lnTo>
                <a:lnTo>
                  <a:pt x="2184" y="3365"/>
                </a:lnTo>
                <a:lnTo>
                  <a:pt x="3030" y="3365"/>
                </a:lnTo>
                <a:lnTo>
                  <a:pt x="2743" y="215"/>
                </a:lnTo>
                <a:lnTo>
                  <a:pt x="1117" y="0"/>
                </a:lnTo>
                <a:close/>
              </a:path>
              <a:path w="3175" h="3809">
                <a:moveTo>
                  <a:pt x="3030" y="3365"/>
                </a:moveTo>
                <a:lnTo>
                  <a:pt x="2184" y="3365"/>
                </a:lnTo>
                <a:lnTo>
                  <a:pt x="3060" y="3657"/>
                </a:lnTo>
                <a:lnTo>
                  <a:pt x="3030" y="3365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4" name="bk object 154"/>
          <p:cNvSpPr/>
          <p:nvPr/>
        </p:nvSpPr>
        <p:spPr>
          <a:xfrm>
            <a:off x="3889466" y="5913613"/>
            <a:ext cx="2391" cy="2624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5" name="bk object 155"/>
          <p:cNvSpPr/>
          <p:nvPr/>
        </p:nvSpPr>
        <p:spPr>
          <a:xfrm>
            <a:off x="3889477" y="5913665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906" y="2184"/>
                </a:moveTo>
                <a:lnTo>
                  <a:pt x="889" y="2184"/>
                </a:lnTo>
                <a:lnTo>
                  <a:pt x="2108" y="2222"/>
                </a:lnTo>
                <a:lnTo>
                  <a:pt x="2933" y="2501"/>
                </a:lnTo>
                <a:lnTo>
                  <a:pt x="2906" y="2184"/>
                </a:lnTo>
                <a:close/>
              </a:path>
              <a:path w="3175" h="2540">
                <a:moveTo>
                  <a:pt x="1231" y="0"/>
                </a:moveTo>
                <a:lnTo>
                  <a:pt x="812" y="1422"/>
                </a:lnTo>
                <a:lnTo>
                  <a:pt x="0" y="1739"/>
                </a:lnTo>
                <a:lnTo>
                  <a:pt x="1066" y="2324"/>
                </a:lnTo>
                <a:lnTo>
                  <a:pt x="889" y="2184"/>
                </a:lnTo>
                <a:lnTo>
                  <a:pt x="2906" y="2184"/>
                </a:lnTo>
                <a:lnTo>
                  <a:pt x="2794" y="330"/>
                </a:lnTo>
                <a:lnTo>
                  <a:pt x="123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6" name="bk object 156"/>
          <p:cNvSpPr/>
          <p:nvPr/>
        </p:nvSpPr>
        <p:spPr>
          <a:xfrm>
            <a:off x="3889507" y="5913631"/>
            <a:ext cx="2271" cy="168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7" name="bk object 157"/>
          <p:cNvSpPr/>
          <p:nvPr/>
        </p:nvSpPr>
        <p:spPr>
          <a:xfrm>
            <a:off x="3809880" y="5861849"/>
            <a:ext cx="92157" cy="4996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8" name="bk object 158"/>
          <p:cNvSpPr/>
          <p:nvPr/>
        </p:nvSpPr>
        <p:spPr>
          <a:xfrm>
            <a:off x="3904379" y="5861850"/>
            <a:ext cx="87216" cy="50023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9" name="bk object 159"/>
          <p:cNvSpPr/>
          <p:nvPr/>
        </p:nvSpPr>
        <p:spPr>
          <a:xfrm>
            <a:off x="3896758" y="5929164"/>
            <a:ext cx="10459" cy="1732"/>
          </a:xfrm>
          <a:custGeom>
            <a:avLst/>
            <a:gdLst/>
            <a:ahLst/>
            <a:cxnLst/>
            <a:rect l="l" t="t" r="r" b="b"/>
            <a:pathLst>
              <a:path w="13335" h="2540">
                <a:moveTo>
                  <a:pt x="4549" y="127"/>
                </a:moveTo>
                <a:lnTo>
                  <a:pt x="6095" y="2209"/>
                </a:lnTo>
                <a:lnTo>
                  <a:pt x="6146" y="2070"/>
                </a:lnTo>
                <a:lnTo>
                  <a:pt x="4549" y="127"/>
                </a:lnTo>
                <a:close/>
              </a:path>
              <a:path w="13335" h="2540">
                <a:moveTo>
                  <a:pt x="3505" y="2095"/>
                </a:moveTo>
                <a:lnTo>
                  <a:pt x="3319" y="2095"/>
                </a:lnTo>
                <a:lnTo>
                  <a:pt x="3467" y="2171"/>
                </a:lnTo>
                <a:close/>
              </a:path>
              <a:path w="13335" h="2540">
                <a:moveTo>
                  <a:pt x="12877" y="1714"/>
                </a:moveTo>
                <a:lnTo>
                  <a:pt x="9718" y="2057"/>
                </a:lnTo>
                <a:lnTo>
                  <a:pt x="9588" y="2159"/>
                </a:lnTo>
                <a:lnTo>
                  <a:pt x="12877" y="1727"/>
                </a:lnTo>
                <a:lnTo>
                  <a:pt x="13169" y="1727"/>
                </a:lnTo>
                <a:lnTo>
                  <a:pt x="12877" y="1714"/>
                </a:lnTo>
                <a:close/>
              </a:path>
              <a:path w="13335" h="2540">
                <a:moveTo>
                  <a:pt x="0" y="381"/>
                </a:moveTo>
                <a:lnTo>
                  <a:pt x="3319" y="2095"/>
                </a:lnTo>
                <a:lnTo>
                  <a:pt x="2311" y="1498"/>
                </a:lnTo>
                <a:lnTo>
                  <a:pt x="0" y="381"/>
                </a:lnTo>
                <a:close/>
              </a:path>
              <a:path w="13335" h="2540">
                <a:moveTo>
                  <a:pt x="4444" y="0"/>
                </a:moveTo>
                <a:lnTo>
                  <a:pt x="3416" y="2095"/>
                </a:lnTo>
                <a:lnTo>
                  <a:pt x="4368" y="381"/>
                </a:lnTo>
                <a:lnTo>
                  <a:pt x="4419" y="127"/>
                </a:lnTo>
                <a:lnTo>
                  <a:pt x="4549" y="127"/>
                </a:lnTo>
                <a:lnTo>
                  <a:pt x="4444" y="0"/>
                </a:lnTo>
                <a:close/>
              </a:path>
              <a:path w="13335" h="2540">
                <a:moveTo>
                  <a:pt x="8475" y="127"/>
                </a:moveTo>
                <a:lnTo>
                  <a:pt x="8343" y="127"/>
                </a:lnTo>
                <a:lnTo>
                  <a:pt x="8499" y="381"/>
                </a:lnTo>
                <a:lnTo>
                  <a:pt x="9549" y="2095"/>
                </a:lnTo>
                <a:lnTo>
                  <a:pt x="8475" y="127"/>
                </a:lnTo>
                <a:close/>
              </a:path>
              <a:path w="13335" h="2540">
                <a:moveTo>
                  <a:pt x="8407" y="12"/>
                </a:moveTo>
                <a:lnTo>
                  <a:pt x="6108" y="2023"/>
                </a:lnTo>
                <a:lnTo>
                  <a:pt x="6253" y="2070"/>
                </a:lnTo>
                <a:lnTo>
                  <a:pt x="8380" y="187"/>
                </a:lnTo>
                <a:lnTo>
                  <a:pt x="8407" y="12"/>
                </a:lnTo>
                <a:close/>
              </a:path>
              <a:path w="13335" h="2540">
                <a:moveTo>
                  <a:pt x="4495" y="127"/>
                </a:move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0" name="bk object 160"/>
          <p:cNvSpPr/>
          <p:nvPr/>
        </p:nvSpPr>
        <p:spPr>
          <a:xfrm>
            <a:off x="3896758" y="5929425"/>
            <a:ext cx="10459" cy="3897"/>
          </a:xfrm>
          <a:custGeom>
            <a:avLst/>
            <a:gdLst/>
            <a:ahLst/>
            <a:cxnLst/>
            <a:rect l="l" t="t" r="r" b="b"/>
            <a:pathLst>
              <a:path w="13335" h="5715">
                <a:moveTo>
                  <a:pt x="0" y="0"/>
                </a:moveTo>
                <a:lnTo>
                  <a:pt x="1612" y="4610"/>
                </a:lnTo>
                <a:lnTo>
                  <a:pt x="6720" y="4927"/>
                </a:lnTo>
                <a:lnTo>
                  <a:pt x="10350" y="5118"/>
                </a:lnTo>
                <a:lnTo>
                  <a:pt x="10472" y="4965"/>
                </a:lnTo>
                <a:lnTo>
                  <a:pt x="10236" y="4965"/>
                </a:lnTo>
                <a:lnTo>
                  <a:pt x="6019" y="4635"/>
                </a:lnTo>
                <a:lnTo>
                  <a:pt x="2661" y="4457"/>
                </a:lnTo>
                <a:lnTo>
                  <a:pt x="1790" y="4457"/>
                </a:lnTo>
                <a:lnTo>
                  <a:pt x="0" y="0"/>
                </a:lnTo>
                <a:close/>
              </a:path>
              <a:path w="13335" h="5715">
                <a:moveTo>
                  <a:pt x="13169" y="1346"/>
                </a:moveTo>
                <a:lnTo>
                  <a:pt x="12967" y="1701"/>
                </a:lnTo>
                <a:lnTo>
                  <a:pt x="12686" y="2006"/>
                </a:lnTo>
                <a:lnTo>
                  <a:pt x="12496" y="2285"/>
                </a:lnTo>
                <a:lnTo>
                  <a:pt x="10236" y="4965"/>
                </a:lnTo>
                <a:lnTo>
                  <a:pt x="10472" y="4965"/>
                </a:lnTo>
                <a:lnTo>
                  <a:pt x="11849" y="3251"/>
                </a:lnTo>
                <a:lnTo>
                  <a:pt x="12795" y="1968"/>
                </a:lnTo>
                <a:lnTo>
                  <a:pt x="13017" y="1701"/>
                </a:lnTo>
                <a:lnTo>
                  <a:pt x="13169" y="1346"/>
                </a:lnTo>
                <a:close/>
              </a:path>
              <a:path w="13335" h="5715">
                <a:moveTo>
                  <a:pt x="1771" y="4410"/>
                </a:moveTo>
                <a:lnTo>
                  <a:pt x="2661" y="4457"/>
                </a:lnTo>
                <a:lnTo>
                  <a:pt x="1771" y="4410"/>
                </a:lnTo>
                <a:close/>
              </a:path>
              <a:path w="13335" h="5715">
                <a:moveTo>
                  <a:pt x="1770" y="4406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1" name="bk object 161"/>
          <p:cNvSpPr/>
          <p:nvPr/>
        </p:nvSpPr>
        <p:spPr>
          <a:xfrm>
            <a:off x="3898790" y="5941504"/>
            <a:ext cx="5727" cy="13231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2" name="bk object 162"/>
          <p:cNvSpPr/>
          <p:nvPr/>
        </p:nvSpPr>
        <p:spPr>
          <a:xfrm>
            <a:off x="3898801" y="5941937"/>
            <a:ext cx="4482" cy="12989"/>
          </a:xfrm>
          <a:custGeom>
            <a:avLst/>
            <a:gdLst/>
            <a:ahLst/>
            <a:cxnLst/>
            <a:rect l="l" t="t" r="r" b="b"/>
            <a:pathLst>
              <a:path w="5714" h="19050">
                <a:moveTo>
                  <a:pt x="0" y="0"/>
                </a:moveTo>
                <a:lnTo>
                  <a:pt x="3288" y="11061"/>
                </a:lnTo>
                <a:lnTo>
                  <a:pt x="3122" y="14008"/>
                </a:lnTo>
                <a:lnTo>
                  <a:pt x="2730" y="16967"/>
                </a:lnTo>
                <a:lnTo>
                  <a:pt x="3606" y="17729"/>
                </a:lnTo>
                <a:lnTo>
                  <a:pt x="5549" y="18770"/>
                </a:lnTo>
                <a:lnTo>
                  <a:pt x="4597" y="18211"/>
                </a:lnTo>
                <a:lnTo>
                  <a:pt x="3670" y="17627"/>
                </a:lnTo>
                <a:lnTo>
                  <a:pt x="2965" y="16967"/>
                </a:lnTo>
                <a:lnTo>
                  <a:pt x="3136" y="15481"/>
                </a:lnTo>
                <a:lnTo>
                  <a:pt x="3289" y="13995"/>
                </a:lnTo>
                <a:lnTo>
                  <a:pt x="3429" y="11061"/>
                </a:lnTo>
                <a:lnTo>
                  <a:pt x="3429" y="9563"/>
                </a:lnTo>
                <a:lnTo>
                  <a:pt x="3251" y="8102"/>
                </a:lnTo>
                <a:lnTo>
                  <a:pt x="3111" y="6616"/>
                </a:lnTo>
                <a:lnTo>
                  <a:pt x="2832" y="5156"/>
                </a:lnTo>
                <a:lnTo>
                  <a:pt x="1803" y="2362"/>
                </a:lnTo>
                <a:lnTo>
                  <a:pt x="1117" y="990"/>
                </a:lnTo>
                <a:lnTo>
                  <a:pt x="0" y="0"/>
                </a:lnTo>
                <a:close/>
              </a:path>
              <a:path w="5714" h="19050">
                <a:moveTo>
                  <a:pt x="2901" y="16907"/>
                </a:moveTo>
                <a:close/>
              </a:path>
              <a:path w="5714" h="19050">
                <a:moveTo>
                  <a:pt x="2906" y="16878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3" name="bk object 163"/>
          <p:cNvSpPr/>
          <p:nvPr/>
        </p:nvSpPr>
        <p:spPr>
          <a:xfrm>
            <a:off x="3898790" y="5941487"/>
            <a:ext cx="4980" cy="13422"/>
          </a:xfrm>
          <a:custGeom>
            <a:avLst/>
            <a:gdLst/>
            <a:ahLst/>
            <a:cxnLst/>
            <a:rect l="l" t="t" r="r" b="b"/>
            <a:pathLst>
              <a:path w="6350" h="19684">
                <a:moveTo>
                  <a:pt x="1028" y="25"/>
                </a:moveTo>
                <a:lnTo>
                  <a:pt x="1206" y="114"/>
                </a:lnTo>
                <a:lnTo>
                  <a:pt x="1422" y="279"/>
                </a:lnTo>
                <a:lnTo>
                  <a:pt x="5778" y="12712"/>
                </a:lnTo>
                <a:lnTo>
                  <a:pt x="5638" y="16065"/>
                </a:lnTo>
                <a:lnTo>
                  <a:pt x="5549" y="19431"/>
                </a:lnTo>
                <a:lnTo>
                  <a:pt x="5575" y="17741"/>
                </a:lnTo>
                <a:lnTo>
                  <a:pt x="5715" y="16065"/>
                </a:lnTo>
                <a:lnTo>
                  <a:pt x="5880" y="12712"/>
                </a:lnTo>
                <a:lnTo>
                  <a:pt x="1231" y="76"/>
                </a:lnTo>
                <a:lnTo>
                  <a:pt x="1028" y="25"/>
                </a:lnTo>
                <a:close/>
              </a:path>
              <a:path w="6350" h="19684">
                <a:moveTo>
                  <a:pt x="368" y="190"/>
                </a:moveTo>
                <a:lnTo>
                  <a:pt x="165" y="419"/>
                </a:lnTo>
                <a:lnTo>
                  <a:pt x="0" y="660"/>
                </a:lnTo>
                <a:lnTo>
                  <a:pt x="368" y="190"/>
                </a:lnTo>
                <a:close/>
              </a:path>
              <a:path w="6350" h="19684">
                <a:moveTo>
                  <a:pt x="927" y="0"/>
                </a:moveTo>
                <a:lnTo>
                  <a:pt x="757" y="25"/>
                </a:lnTo>
                <a:lnTo>
                  <a:pt x="368" y="190"/>
                </a:lnTo>
                <a:lnTo>
                  <a:pt x="787" y="38"/>
                </a:lnTo>
                <a:lnTo>
                  <a:pt x="927" y="25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4" name="bk object 164"/>
          <p:cNvSpPr/>
          <p:nvPr/>
        </p:nvSpPr>
        <p:spPr>
          <a:xfrm>
            <a:off x="3902645" y="5940543"/>
            <a:ext cx="7172" cy="7801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5" name="bk object 165"/>
          <p:cNvSpPr/>
          <p:nvPr/>
        </p:nvSpPr>
        <p:spPr>
          <a:xfrm>
            <a:off x="3902655" y="5940535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0" y="11455"/>
                </a:lnTo>
                <a:lnTo>
                  <a:pt x="419" y="10248"/>
                </a:lnTo>
                <a:lnTo>
                  <a:pt x="809" y="9004"/>
                </a:lnTo>
                <a:lnTo>
                  <a:pt x="1711" y="6603"/>
                </a:lnTo>
                <a:lnTo>
                  <a:pt x="2209" y="5460"/>
                </a:lnTo>
                <a:lnTo>
                  <a:pt x="3797" y="3505"/>
                </a:lnTo>
                <a:lnTo>
                  <a:pt x="4939" y="2641"/>
                </a:lnTo>
                <a:lnTo>
                  <a:pt x="7040" y="1244"/>
                </a:lnTo>
                <a:lnTo>
                  <a:pt x="913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6" name="bk object 166"/>
          <p:cNvSpPr/>
          <p:nvPr/>
        </p:nvSpPr>
        <p:spPr>
          <a:xfrm>
            <a:off x="3902645" y="5940535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1257" y="11036"/>
                </a:lnTo>
                <a:lnTo>
                  <a:pt x="0" y="11455"/>
                </a:lnTo>
                <a:lnTo>
                  <a:pt x="634" y="11277"/>
                </a:lnTo>
                <a:lnTo>
                  <a:pt x="1282" y="11125"/>
                </a:lnTo>
                <a:lnTo>
                  <a:pt x="2527" y="10718"/>
                </a:lnTo>
                <a:lnTo>
                  <a:pt x="8980" y="1295"/>
                </a:lnTo>
                <a:lnTo>
                  <a:pt x="9131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7" name="bk object 167"/>
          <p:cNvSpPr/>
          <p:nvPr/>
        </p:nvSpPr>
        <p:spPr>
          <a:xfrm>
            <a:off x="3892983" y="5942647"/>
            <a:ext cx="9054" cy="7092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8" name="bk object 168"/>
          <p:cNvSpPr/>
          <p:nvPr/>
        </p:nvSpPr>
        <p:spPr>
          <a:xfrm>
            <a:off x="3892983" y="5942639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4" h="10795">
                <a:moveTo>
                  <a:pt x="0" y="0"/>
                </a:moveTo>
                <a:lnTo>
                  <a:pt x="10883" y="9194"/>
                </a:lnTo>
                <a:lnTo>
                  <a:pt x="11544" y="10401"/>
                </a:lnTo>
                <a:lnTo>
                  <a:pt x="2527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9" name="bk object 169"/>
          <p:cNvSpPr/>
          <p:nvPr/>
        </p:nvSpPr>
        <p:spPr>
          <a:xfrm>
            <a:off x="3892983" y="5942647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4" h="10795">
                <a:moveTo>
                  <a:pt x="0" y="0"/>
                </a:moveTo>
                <a:lnTo>
                  <a:pt x="10845" y="10312"/>
                </a:lnTo>
                <a:lnTo>
                  <a:pt x="11544" y="10401"/>
                </a:lnTo>
                <a:lnTo>
                  <a:pt x="10172" y="10185"/>
                </a:lnTo>
                <a:lnTo>
                  <a:pt x="8775" y="10007"/>
                </a:lnTo>
                <a:lnTo>
                  <a:pt x="6223" y="8953"/>
                </a:lnTo>
                <a:lnTo>
                  <a:pt x="5054" y="8166"/>
                </a:lnTo>
                <a:lnTo>
                  <a:pt x="4114" y="7137"/>
                </a:lnTo>
                <a:lnTo>
                  <a:pt x="3162" y="6172"/>
                </a:lnTo>
                <a:lnTo>
                  <a:pt x="2374" y="5016"/>
                </a:lnTo>
                <a:lnTo>
                  <a:pt x="1054" y="2578"/>
                </a:lnTo>
                <a:lnTo>
                  <a:pt x="482" y="1308"/>
                </a:lnTo>
                <a:lnTo>
                  <a:pt x="0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0" name="bk object 170"/>
          <p:cNvSpPr/>
          <p:nvPr/>
        </p:nvSpPr>
        <p:spPr>
          <a:xfrm>
            <a:off x="3895553" y="5930603"/>
            <a:ext cx="10020" cy="129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1" name="bk object 171"/>
          <p:cNvSpPr/>
          <p:nvPr/>
        </p:nvSpPr>
        <p:spPr>
          <a:xfrm>
            <a:off x="3901420" y="5932620"/>
            <a:ext cx="7471" cy="10824"/>
          </a:xfrm>
          <a:custGeom>
            <a:avLst/>
            <a:gdLst/>
            <a:ahLst/>
            <a:cxnLst/>
            <a:rect l="l" t="t" r="r" b="b"/>
            <a:pathLst>
              <a:path w="9525" h="15875">
                <a:moveTo>
                  <a:pt x="8233" y="2730"/>
                </a:moveTo>
                <a:lnTo>
                  <a:pt x="8782" y="6134"/>
                </a:lnTo>
                <a:lnTo>
                  <a:pt x="8504" y="7873"/>
                </a:lnTo>
                <a:lnTo>
                  <a:pt x="7302" y="11087"/>
                </a:lnTo>
                <a:lnTo>
                  <a:pt x="0" y="15341"/>
                </a:lnTo>
                <a:lnTo>
                  <a:pt x="1739" y="15214"/>
                </a:lnTo>
                <a:lnTo>
                  <a:pt x="8902" y="6134"/>
                </a:lnTo>
                <a:lnTo>
                  <a:pt x="8877" y="5232"/>
                </a:lnTo>
                <a:lnTo>
                  <a:pt x="8534" y="3505"/>
                </a:lnTo>
                <a:lnTo>
                  <a:pt x="8233" y="2730"/>
                </a:lnTo>
                <a:close/>
              </a:path>
              <a:path w="9525" h="15875">
                <a:moveTo>
                  <a:pt x="6872" y="773"/>
                </a:moveTo>
                <a:lnTo>
                  <a:pt x="7264" y="1181"/>
                </a:lnTo>
                <a:lnTo>
                  <a:pt x="8128" y="2534"/>
                </a:lnTo>
                <a:lnTo>
                  <a:pt x="7289" y="1130"/>
                </a:lnTo>
                <a:lnTo>
                  <a:pt x="6872" y="773"/>
                </a:lnTo>
                <a:close/>
              </a:path>
              <a:path w="9525" h="15875">
                <a:moveTo>
                  <a:pt x="5969" y="0"/>
                </a:moveTo>
                <a:lnTo>
                  <a:pt x="6872" y="773"/>
                </a:lnTo>
                <a:lnTo>
                  <a:pt x="6642" y="533"/>
                </a:lnTo>
                <a:lnTo>
                  <a:pt x="5969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2" name="bk object 172"/>
          <p:cNvSpPr/>
          <p:nvPr/>
        </p:nvSpPr>
        <p:spPr>
          <a:xfrm>
            <a:off x="3901410" y="5930637"/>
            <a:ext cx="7141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3" name="bk object 173"/>
          <p:cNvSpPr/>
          <p:nvPr/>
        </p:nvSpPr>
        <p:spPr>
          <a:xfrm>
            <a:off x="3901420" y="5930637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0" y="0"/>
                </a:moveTo>
                <a:lnTo>
                  <a:pt x="4064" y="7404"/>
                </a:lnTo>
                <a:lnTo>
                  <a:pt x="3998" y="10883"/>
                </a:lnTo>
                <a:lnTo>
                  <a:pt x="0" y="18249"/>
                </a:lnTo>
                <a:lnTo>
                  <a:pt x="800" y="17881"/>
                </a:lnTo>
                <a:lnTo>
                  <a:pt x="4191" y="7404"/>
                </a:lnTo>
                <a:lnTo>
                  <a:pt x="3937" y="5626"/>
                </a:lnTo>
                <a:lnTo>
                  <a:pt x="2616" y="2400"/>
                </a:lnTo>
                <a:lnTo>
                  <a:pt x="1498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4" name="bk object 174"/>
          <p:cNvSpPr/>
          <p:nvPr/>
        </p:nvSpPr>
        <p:spPr>
          <a:xfrm>
            <a:off x="3893541" y="5931478"/>
            <a:ext cx="7471" cy="11690"/>
          </a:xfrm>
          <a:custGeom>
            <a:avLst/>
            <a:gdLst/>
            <a:ahLst/>
            <a:cxnLst/>
            <a:rect l="l" t="t" r="r" b="b"/>
            <a:pathLst>
              <a:path w="9525" h="17145">
                <a:moveTo>
                  <a:pt x="2079" y="2343"/>
                </a:moveTo>
                <a:lnTo>
                  <a:pt x="1587" y="2870"/>
                </a:lnTo>
                <a:lnTo>
                  <a:pt x="1104" y="3759"/>
                </a:lnTo>
                <a:lnTo>
                  <a:pt x="88" y="5537"/>
                </a:lnTo>
                <a:lnTo>
                  <a:pt x="0" y="7734"/>
                </a:lnTo>
                <a:lnTo>
                  <a:pt x="457" y="9690"/>
                </a:lnTo>
                <a:lnTo>
                  <a:pt x="876" y="11658"/>
                </a:lnTo>
                <a:lnTo>
                  <a:pt x="1917" y="13550"/>
                </a:lnTo>
                <a:lnTo>
                  <a:pt x="5067" y="16116"/>
                </a:lnTo>
                <a:lnTo>
                  <a:pt x="7048" y="16852"/>
                </a:lnTo>
                <a:lnTo>
                  <a:pt x="9055" y="17018"/>
                </a:lnTo>
                <a:lnTo>
                  <a:pt x="8064" y="16903"/>
                </a:lnTo>
                <a:lnTo>
                  <a:pt x="7086" y="16611"/>
                </a:lnTo>
                <a:lnTo>
                  <a:pt x="711" y="9626"/>
                </a:lnTo>
                <a:lnTo>
                  <a:pt x="482" y="8661"/>
                </a:lnTo>
                <a:lnTo>
                  <a:pt x="381" y="7658"/>
                </a:lnTo>
                <a:lnTo>
                  <a:pt x="546" y="5702"/>
                </a:lnTo>
                <a:lnTo>
                  <a:pt x="825" y="4724"/>
                </a:lnTo>
                <a:lnTo>
                  <a:pt x="2079" y="2343"/>
                </a:lnTo>
                <a:close/>
              </a:path>
              <a:path w="9525" h="17145">
                <a:moveTo>
                  <a:pt x="4173" y="694"/>
                </a:moveTo>
                <a:lnTo>
                  <a:pt x="3852" y="850"/>
                </a:lnTo>
                <a:lnTo>
                  <a:pt x="2203" y="2108"/>
                </a:lnTo>
                <a:lnTo>
                  <a:pt x="2079" y="2343"/>
                </a:lnTo>
                <a:lnTo>
                  <a:pt x="2314" y="2095"/>
                </a:lnTo>
                <a:lnTo>
                  <a:pt x="3073" y="1473"/>
                </a:lnTo>
                <a:lnTo>
                  <a:pt x="3932" y="825"/>
                </a:lnTo>
                <a:lnTo>
                  <a:pt x="4173" y="694"/>
                </a:lnTo>
                <a:close/>
              </a:path>
              <a:path w="9525" h="17145">
                <a:moveTo>
                  <a:pt x="5702" y="0"/>
                </a:moveTo>
                <a:lnTo>
                  <a:pt x="4775" y="368"/>
                </a:lnTo>
                <a:lnTo>
                  <a:pt x="4173" y="694"/>
                </a:lnTo>
                <a:lnTo>
                  <a:pt x="5702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5" name="bk object 175"/>
          <p:cNvSpPr/>
          <p:nvPr/>
        </p:nvSpPr>
        <p:spPr>
          <a:xfrm>
            <a:off x="3893502" y="5930637"/>
            <a:ext cx="7141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6" name="bk object 176"/>
          <p:cNvSpPr/>
          <p:nvPr/>
        </p:nvSpPr>
        <p:spPr>
          <a:xfrm>
            <a:off x="3897356" y="5930637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4190" y="0"/>
                </a:moveTo>
                <a:lnTo>
                  <a:pt x="2679" y="901"/>
                </a:lnTo>
                <a:lnTo>
                  <a:pt x="1600" y="2400"/>
                </a:lnTo>
                <a:lnTo>
                  <a:pt x="237" y="5651"/>
                </a:lnTo>
                <a:lnTo>
                  <a:pt x="0" y="7404"/>
                </a:lnTo>
                <a:lnTo>
                  <a:pt x="76" y="10883"/>
                </a:lnTo>
                <a:lnTo>
                  <a:pt x="4190" y="18249"/>
                </a:lnTo>
                <a:lnTo>
                  <a:pt x="3390" y="17881"/>
                </a:lnTo>
                <a:lnTo>
                  <a:pt x="2768" y="17233"/>
                </a:lnTo>
                <a:lnTo>
                  <a:pt x="126" y="7404"/>
                </a:lnTo>
                <a:lnTo>
                  <a:pt x="353" y="5626"/>
                </a:lnTo>
                <a:lnTo>
                  <a:pt x="1320" y="3225"/>
                </a:lnTo>
                <a:lnTo>
                  <a:pt x="1814" y="2400"/>
                </a:lnTo>
                <a:lnTo>
                  <a:pt x="2819" y="1092"/>
                </a:lnTo>
                <a:lnTo>
                  <a:pt x="3428" y="469"/>
                </a:lnTo>
                <a:lnTo>
                  <a:pt x="419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7" name="bk object 177"/>
          <p:cNvSpPr/>
          <p:nvPr/>
        </p:nvSpPr>
        <p:spPr>
          <a:xfrm>
            <a:off x="3894049" y="5930593"/>
            <a:ext cx="13945" cy="433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11135" y="126"/>
                </a:moveTo>
                <a:lnTo>
                  <a:pt x="10769" y="126"/>
                </a:lnTo>
                <a:lnTo>
                  <a:pt x="12649" y="774"/>
                </a:lnTo>
                <a:lnTo>
                  <a:pt x="15117" y="2387"/>
                </a:lnTo>
                <a:lnTo>
                  <a:pt x="15786" y="2984"/>
                </a:lnTo>
                <a:lnTo>
                  <a:pt x="17018" y="4457"/>
                </a:lnTo>
                <a:lnTo>
                  <a:pt x="17538" y="5295"/>
                </a:lnTo>
                <a:lnTo>
                  <a:pt x="17703" y="6248"/>
                </a:lnTo>
                <a:lnTo>
                  <a:pt x="17569" y="5283"/>
                </a:lnTo>
                <a:lnTo>
                  <a:pt x="17002" y="4368"/>
                </a:lnTo>
                <a:lnTo>
                  <a:pt x="15836" y="2920"/>
                </a:lnTo>
                <a:lnTo>
                  <a:pt x="15100" y="2285"/>
                </a:lnTo>
                <a:lnTo>
                  <a:pt x="12700" y="673"/>
                </a:lnTo>
                <a:lnTo>
                  <a:pt x="11135" y="126"/>
                </a:lnTo>
                <a:close/>
              </a:path>
              <a:path w="17779" h="6350">
                <a:moveTo>
                  <a:pt x="8851" y="0"/>
                </a:moveTo>
                <a:lnTo>
                  <a:pt x="0" y="6184"/>
                </a:lnTo>
                <a:lnTo>
                  <a:pt x="304" y="5283"/>
                </a:lnTo>
                <a:lnTo>
                  <a:pt x="787" y="4457"/>
                </a:lnTo>
                <a:lnTo>
                  <a:pt x="1397" y="3733"/>
                </a:lnTo>
                <a:lnTo>
                  <a:pt x="1981" y="2984"/>
                </a:lnTo>
                <a:lnTo>
                  <a:pt x="2875" y="2285"/>
                </a:lnTo>
                <a:lnTo>
                  <a:pt x="5118" y="838"/>
                </a:lnTo>
                <a:lnTo>
                  <a:pt x="6997" y="330"/>
                </a:lnTo>
                <a:lnTo>
                  <a:pt x="8851" y="139"/>
                </a:lnTo>
                <a:lnTo>
                  <a:pt x="11135" y="126"/>
                </a:lnTo>
                <a:lnTo>
                  <a:pt x="10807" y="12"/>
                </a:lnTo>
                <a:lnTo>
                  <a:pt x="885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8" name="bk object 178"/>
          <p:cNvSpPr/>
          <p:nvPr/>
        </p:nvSpPr>
        <p:spPr>
          <a:xfrm>
            <a:off x="3909817" y="5934369"/>
            <a:ext cx="27571" cy="2094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9" name="bk object 179"/>
          <p:cNvSpPr/>
          <p:nvPr/>
        </p:nvSpPr>
        <p:spPr>
          <a:xfrm>
            <a:off x="3865661" y="5877115"/>
            <a:ext cx="56148" cy="78858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0" name="bk object 180"/>
          <p:cNvSpPr/>
          <p:nvPr/>
        </p:nvSpPr>
        <p:spPr>
          <a:xfrm>
            <a:off x="3892147" y="5880449"/>
            <a:ext cx="20210" cy="12694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1" name="bk object 181"/>
          <p:cNvSpPr/>
          <p:nvPr/>
        </p:nvSpPr>
        <p:spPr>
          <a:xfrm>
            <a:off x="3883401" y="5871002"/>
            <a:ext cx="24264" cy="56561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2" name="bk object 182"/>
          <p:cNvSpPr/>
          <p:nvPr/>
        </p:nvSpPr>
        <p:spPr>
          <a:xfrm>
            <a:off x="4146773" y="5837231"/>
            <a:ext cx="905525" cy="218564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3" name="bk object 183"/>
          <p:cNvSpPr/>
          <p:nvPr/>
        </p:nvSpPr>
        <p:spPr>
          <a:xfrm>
            <a:off x="5298360" y="5809033"/>
            <a:ext cx="361576" cy="314324"/>
          </a:xfrm>
          <a:custGeom>
            <a:avLst/>
            <a:gdLst/>
            <a:ahLst/>
            <a:cxnLst/>
            <a:rect l="l" t="t" r="r" b="b"/>
            <a:pathLst>
              <a:path w="461009" h="461009">
                <a:moveTo>
                  <a:pt x="230301" y="0"/>
                </a:moveTo>
                <a:lnTo>
                  <a:pt x="183943" y="4687"/>
                </a:lnTo>
                <a:lnTo>
                  <a:pt x="140739" y="18127"/>
                </a:lnTo>
                <a:lnTo>
                  <a:pt x="101622" y="39385"/>
                </a:lnTo>
                <a:lnTo>
                  <a:pt x="67525" y="67530"/>
                </a:lnTo>
                <a:lnTo>
                  <a:pt x="39382" y="101627"/>
                </a:lnTo>
                <a:lnTo>
                  <a:pt x="18125" y="140744"/>
                </a:lnTo>
                <a:lnTo>
                  <a:pt x="4686" y="183946"/>
                </a:lnTo>
                <a:lnTo>
                  <a:pt x="0" y="230301"/>
                </a:lnTo>
                <a:lnTo>
                  <a:pt x="4686" y="276652"/>
                </a:lnTo>
                <a:lnTo>
                  <a:pt x="18125" y="319851"/>
                </a:lnTo>
                <a:lnTo>
                  <a:pt x="39382" y="358966"/>
                </a:lnTo>
                <a:lnTo>
                  <a:pt x="67525" y="393061"/>
                </a:lnTo>
                <a:lnTo>
                  <a:pt x="101622" y="421205"/>
                </a:lnTo>
                <a:lnTo>
                  <a:pt x="140739" y="442464"/>
                </a:lnTo>
                <a:lnTo>
                  <a:pt x="183943" y="455903"/>
                </a:lnTo>
                <a:lnTo>
                  <a:pt x="230301" y="460590"/>
                </a:lnTo>
                <a:lnTo>
                  <a:pt x="276656" y="455903"/>
                </a:lnTo>
                <a:lnTo>
                  <a:pt x="319859" y="442464"/>
                </a:lnTo>
                <a:lnTo>
                  <a:pt x="358975" y="421205"/>
                </a:lnTo>
                <a:lnTo>
                  <a:pt x="393072" y="393061"/>
                </a:lnTo>
                <a:lnTo>
                  <a:pt x="421217" y="358966"/>
                </a:lnTo>
                <a:lnTo>
                  <a:pt x="442476" y="319851"/>
                </a:lnTo>
                <a:lnTo>
                  <a:pt x="455916" y="276652"/>
                </a:lnTo>
                <a:lnTo>
                  <a:pt x="460603" y="230301"/>
                </a:lnTo>
                <a:lnTo>
                  <a:pt x="455916" y="183946"/>
                </a:lnTo>
                <a:lnTo>
                  <a:pt x="442476" y="140744"/>
                </a:lnTo>
                <a:lnTo>
                  <a:pt x="421217" y="101627"/>
                </a:lnTo>
                <a:lnTo>
                  <a:pt x="393072" y="67530"/>
                </a:lnTo>
                <a:lnTo>
                  <a:pt x="358975" y="39385"/>
                </a:lnTo>
                <a:lnTo>
                  <a:pt x="319859" y="18127"/>
                </a:lnTo>
                <a:lnTo>
                  <a:pt x="276656" y="4687"/>
                </a:lnTo>
                <a:lnTo>
                  <a:pt x="230301" y="0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4" name="bk object 184"/>
          <p:cNvSpPr/>
          <p:nvPr/>
        </p:nvSpPr>
        <p:spPr>
          <a:xfrm>
            <a:off x="5346231" y="5850635"/>
            <a:ext cx="265953" cy="231198"/>
          </a:xfrm>
          <a:custGeom>
            <a:avLst/>
            <a:gdLst/>
            <a:ahLst/>
            <a:cxnLst/>
            <a:rect l="l" t="t" r="r" b="b"/>
            <a:pathLst>
              <a:path w="339090" h="339090">
                <a:moveTo>
                  <a:pt x="169265" y="0"/>
                </a:moveTo>
                <a:lnTo>
                  <a:pt x="124267" y="6048"/>
                </a:lnTo>
                <a:lnTo>
                  <a:pt x="83833" y="23115"/>
                </a:lnTo>
                <a:lnTo>
                  <a:pt x="49576" y="49588"/>
                </a:lnTo>
                <a:lnTo>
                  <a:pt x="23109" y="83851"/>
                </a:lnTo>
                <a:lnTo>
                  <a:pt x="6046" y="124290"/>
                </a:lnTo>
                <a:lnTo>
                  <a:pt x="0" y="169291"/>
                </a:lnTo>
                <a:lnTo>
                  <a:pt x="6046" y="214289"/>
                </a:lnTo>
                <a:lnTo>
                  <a:pt x="23109" y="254723"/>
                </a:lnTo>
                <a:lnTo>
                  <a:pt x="49576" y="288980"/>
                </a:lnTo>
                <a:lnTo>
                  <a:pt x="83833" y="315447"/>
                </a:lnTo>
                <a:lnTo>
                  <a:pt x="124267" y="332510"/>
                </a:lnTo>
                <a:lnTo>
                  <a:pt x="169265" y="338556"/>
                </a:lnTo>
                <a:lnTo>
                  <a:pt x="214260" y="332510"/>
                </a:lnTo>
                <a:lnTo>
                  <a:pt x="254695" y="315447"/>
                </a:lnTo>
                <a:lnTo>
                  <a:pt x="288956" y="288980"/>
                </a:lnTo>
                <a:lnTo>
                  <a:pt x="315428" y="254723"/>
                </a:lnTo>
                <a:lnTo>
                  <a:pt x="332495" y="214289"/>
                </a:lnTo>
                <a:lnTo>
                  <a:pt x="338543" y="169291"/>
                </a:lnTo>
                <a:lnTo>
                  <a:pt x="332495" y="124290"/>
                </a:lnTo>
                <a:lnTo>
                  <a:pt x="315428" y="83851"/>
                </a:lnTo>
                <a:lnTo>
                  <a:pt x="288956" y="49588"/>
                </a:lnTo>
                <a:lnTo>
                  <a:pt x="254695" y="23115"/>
                </a:lnTo>
                <a:lnTo>
                  <a:pt x="214260" y="6048"/>
                </a:lnTo>
                <a:lnTo>
                  <a:pt x="16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5" name="bk object 185"/>
          <p:cNvSpPr/>
          <p:nvPr/>
        </p:nvSpPr>
        <p:spPr>
          <a:xfrm>
            <a:off x="5367956" y="6058124"/>
            <a:ext cx="223191" cy="52934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6" name="bk object 186"/>
          <p:cNvSpPr/>
          <p:nvPr/>
        </p:nvSpPr>
        <p:spPr>
          <a:xfrm>
            <a:off x="5389720" y="5814882"/>
            <a:ext cx="172780" cy="47858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7" name="bk object 187"/>
          <p:cNvSpPr/>
          <p:nvPr/>
        </p:nvSpPr>
        <p:spPr>
          <a:xfrm>
            <a:off x="5464775" y="5915821"/>
            <a:ext cx="1538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8" name="bk object 188"/>
          <p:cNvSpPr/>
          <p:nvPr/>
        </p:nvSpPr>
        <p:spPr>
          <a:xfrm>
            <a:off x="5470084" y="592195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9" name="bk object 189"/>
          <p:cNvSpPr/>
          <p:nvPr/>
        </p:nvSpPr>
        <p:spPr>
          <a:xfrm>
            <a:off x="5468331" y="592118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0" name="bk object 190"/>
          <p:cNvSpPr/>
          <p:nvPr/>
        </p:nvSpPr>
        <p:spPr>
          <a:xfrm>
            <a:off x="5465641" y="5920905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50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1" name="bk object 191"/>
          <p:cNvSpPr/>
          <p:nvPr/>
        </p:nvSpPr>
        <p:spPr>
          <a:xfrm>
            <a:off x="5465622" y="5917259"/>
            <a:ext cx="15707" cy="101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2" name="bk object 192"/>
          <p:cNvSpPr/>
          <p:nvPr/>
        </p:nvSpPr>
        <p:spPr>
          <a:xfrm>
            <a:off x="5474497" y="5917034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4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3" name="bk object 193"/>
          <p:cNvSpPr/>
          <p:nvPr/>
        </p:nvSpPr>
        <p:spPr>
          <a:xfrm>
            <a:off x="5471937" y="591693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5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4" name="bk object 194"/>
          <p:cNvSpPr/>
          <p:nvPr/>
        </p:nvSpPr>
        <p:spPr>
          <a:xfrm>
            <a:off x="5469736" y="591713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15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5" name="bk object 195"/>
          <p:cNvSpPr/>
          <p:nvPr/>
        </p:nvSpPr>
        <p:spPr>
          <a:xfrm>
            <a:off x="5467814" y="5917198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76"/>
                </a:lnTo>
                <a:lnTo>
                  <a:pt x="1638" y="203"/>
                </a:lnTo>
                <a:lnTo>
                  <a:pt x="0" y="4089"/>
                </a:lnTo>
                <a:lnTo>
                  <a:pt x="927" y="5092"/>
                </a:lnTo>
                <a:lnTo>
                  <a:pt x="609" y="6172"/>
                </a:lnTo>
                <a:lnTo>
                  <a:pt x="2476" y="5041"/>
                </a:lnTo>
                <a:lnTo>
                  <a:pt x="4394" y="3911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6" name="bk object 196"/>
          <p:cNvSpPr/>
          <p:nvPr/>
        </p:nvSpPr>
        <p:spPr>
          <a:xfrm>
            <a:off x="5454744" y="5916549"/>
            <a:ext cx="2505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7" name="bk object 197"/>
          <p:cNvSpPr/>
          <p:nvPr/>
        </p:nvSpPr>
        <p:spPr>
          <a:xfrm>
            <a:off x="5464048" y="5922177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3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8" name="bk object 198"/>
          <p:cNvSpPr/>
          <p:nvPr/>
        </p:nvSpPr>
        <p:spPr>
          <a:xfrm>
            <a:off x="5466010" y="5922290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9" name="bk object 199"/>
          <p:cNvSpPr/>
          <p:nvPr/>
        </p:nvSpPr>
        <p:spPr>
          <a:xfrm>
            <a:off x="5468670" y="5922869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69"/>
                </a:lnTo>
                <a:lnTo>
                  <a:pt x="7137" y="11010"/>
                </a:lnTo>
                <a:lnTo>
                  <a:pt x="3873" y="4127"/>
                </a:lnTo>
                <a:lnTo>
                  <a:pt x="4241" y="927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0" name="bk object 200"/>
          <p:cNvSpPr/>
          <p:nvPr/>
        </p:nvSpPr>
        <p:spPr>
          <a:xfrm>
            <a:off x="5462304" y="5916956"/>
            <a:ext cx="11953" cy="1358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1" name="bk object 201"/>
          <p:cNvSpPr/>
          <p:nvPr/>
        </p:nvSpPr>
        <p:spPr>
          <a:xfrm>
            <a:off x="5465083" y="5917363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51"/>
                </a:lnTo>
                <a:lnTo>
                  <a:pt x="5041" y="8229"/>
                </a:lnTo>
                <a:lnTo>
                  <a:pt x="7492" y="2082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2" name="bk object 202"/>
          <p:cNvSpPr/>
          <p:nvPr/>
        </p:nvSpPr>
        <p:spPr>
          <a:xfrm>
            <a:off x="5468023" y="5918333"/>
            <a:ext cx="5478" cy="6927"/>
          </a:xfrm>
          <a:custGeom>
            <a:avLst/>
            <a:gdLst/>
            <a:ahLst/>
            <a:cxnLst/>
            <a:rect l="l" t="t" r="r" b="b"/>
            <a:pathLst>
              <a:path w="6984" h="10159">
                <a:moveTo>
                  <a:pt x="3771" y="0"/>
                </a:moveTo>
                <a:lnTo>
                  <a:pt x="0" y="4584"/>
                </a:lnTo>
                <a:lnTo>
                  <a:pt x="2209" y="9690"/>
                </a:lnTo>
                <a:lnTo>
                  <a:pt x="2794" y="8166"/>
                </a:lnTo>
                <a:lnTo>
                  <a:pt x="3746" y="7823"/>
                </a:lnTo>
                <a:lnTo>
                  <a:pt x="4711" y="7505"/>
                </a:lnTo>
                <a:lnTo>
                  <a:pt x="6286" y="1778"/>
                </a:lnTo>
                <a:lnTo>
                  <a:pt x="6515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3" name="bk object 203"/>
          <p:cNvSpPr/>
          <p:nvPr/>
        </p:nvSpPr>
        <p:spPr>
          <a:xfrm>
            <a:off x="5470563" y="591964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5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4" name="bk object 204"/>
          <p:cNvSpPr/>
          <p:nvPr/>
        </p:nvSpPr>
        <p:spPr>
          <a:xfrm>
            <a:off x="5472973" y="5920610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5" y="0"/>
                </a:moveTo>
                <a:lnTo>
                  <a:pt x="0" y="3200"/>
                </a:lnTo>
                <a:lnTo>
                  <a:pt x="2082" y="7099"/>
                </a:lnTo>
                <a:lnTo>
                  <a:pt x="2362" y="5994"/>
                </a:lnTo>
                <a:lnTo>
                  <a:pt x="3695" y="5613"/>
                </a:lnTo>
                <a:lnTo>
                  <a:pt x="4267" y="1447"/>
                </a:lnTo>
                <a:lnTo>
                  <a:pt x="4419" y="1384"/>
                </a:lnTo>
                <a:lnTo>
                  <a:pt x="228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5" name="bk object 205"/>
          <p:cNvSpPr/>
          <p:nvPr/>
        </p:nvSpPr>
        <p:spPr>
          <a:xfrm>
            <a:off x="5464775" y="5915821"/>
            <a:ext cx="1538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6" name="bk object 206"/>
          <p:cNvSpPr/>
          <p:nvPr/>
        </p:nvSpPr>
        <p:spPr>
          <a:xfrm>
            <a:off x="5470084" y="592195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7" name="bk object 207"/>
          <p:cNvSpPr/>
          <p:nvPr/>
        </p:nvSpPr>
        <p:spPr>
          <a:xfrm>
            <a:off x="5468331" y="592118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8" name="bk object 208"/>
          <p:cNvSpPr/>
          <p:nvPr/>
        </p:nvSpPr>
        <p:spPr>
          <a:xfrm>
            <a:off x="5465641" y="5920905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50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9" name="bk object 209"/>
          <p:cNvSpPr/>
          <p:nvPr/>
        </p:nvSpPr>
        <p:spPr>
          <a:xfrm>
            <a:off x="5465622" y="5917259"/>
            <a:ext cx="15707" cy="101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0" name="bk object 210"/>
          <p:cNvSpPr/>
          <p:nvPr/>
        </p:nvSpPr>
        <p:spPr>
          <a:xfrm>
            <a:off x="5474497" y="5917034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4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1" name="bk object 211"/>
          <p:cNvSpPr/>
          <p:nvPr/>
        </p:nvSpPr>
        <p:spPr>
          <a:xfrm>
            <a:off x="5471937" y="591693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5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2" name="bk object 212"/>
          <p:cNvSpPr/>
          <p:nvPr/>
        </p:nvSpPr>
        <p:spPr>
          <a:xfrm>
            <a:off x="5469736" y="591713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15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3" name="bk object 213"/>
          <p:cNvSpPr/>
          <p:nvPr/>
        </p:nvSpPr>
        <p:spPr>
          <a:xfrm>
            <a:off x="5467814" y="5917198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76"/>
                </a:lnTo>
                <a:lnTo>
                  <a:pt x="1638" y="203"/>
                </a:lnTo>
                <a:lnTo>
                  <a:pt x="0" y="4089"/>
                </a:lnTo>
                <a:lnTo>
                  <a:pt x="927" y="5092"/>
                </a:lnTo>
                <a:lnTo>
                  <a:pt x="609" y="6172"/>
                </a:lnTo>
                <a:lnTo>
                  <a:pt x="2476" y="5041"/>
                </a:lnTo>
                <a:lnTo>
                  <a:pt x="4394" y="3911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4" name="bk object 214"/>
          <p:cNvSpPr/>
          <p:nvPr/>
        </p:nvSpPr>
        <p:spPr>
          <a:xfrm>
            <a:off x="5454744" y="5916549"/>
            <a:ext cx="2505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5" name="bk object 215"/>
          <p:cNvSpPr/>
          <p:nvPr/>
        </p:nvSpPr>
        <p:spPr>
          <a:xfrm>
            <a:off x="5464048" y="5922177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3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6" name="bk object 216"/>
          <p:cNvSpPr/>
          <p:nvPr/>
        </p:nvSpPr>
        <p:spPr>
          <a:xfrm>
            <a:off x="5466010" y="5922290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7" name="bk object 217"/>
          <p:cNvSpPr/>
          <p:nvPr/>
        </p:nvSpPr>
        <p:spPr>
          <a:xfrm>
            <a:off x="5468670" y="5922869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69"/>
                </a:lnTo>
                <a:lnTo>
                  <a:pt x="7137" y="11010"/>
                </a:lnTo>
                <a:lnTo>
                  <a:pt x="3873" y="4127"/>
                </a:lnTo>
                <a:lnTo>
                  <a:pt x="4241" y="927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8" name="bk object 218"/>
          <p:cNvSpPr/>
          <p:nvPr/>
        </p:nvSpPr>
        <p:spPr>
          <a:xfrm>
            <a:off x="5462304" y="5916956"/>
            <a:ext cx="11953" cy="1358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9" name="bk object 219"/>
          <p:cNvSpPr/>
          <p:nvPr/>
        </p:nvSpPr>
        <p:spPr>
          <a:xfrm>
            <a:off x="5465083" y="5917363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51"/>
                </a:lnTo>
                <a:lnTo>
                  <a:pt x="5041" y="8229"/>
                </a:lnTo>
                <a:lnTo>
                  <a:pt x="7492" y="2082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0" name="bk object 220"/>
          <p:cNvSpPr/>
          <p:nvPr/>
        </p:nvSpPr>
        <p:spPr>
          <a:xfrm>
            <a:off x="5468023" y="5918333"/>
            <a:ext cx="5478" cy="6927"/>
          </a:xfrm>
          <a:custGeom>
            <a:avLst/>
            <a:gdLst/>
            <a:ahLst/>
            <a:cxnLst/>
            <a:rect l="l" t="t" r="r" b="b"/>
            <a:pathLst>
              <a:path w="6984" h="10159">
                <a:moveTo>
                  <a:pt x="3771" y="0"/>
                </a:moveTo>
                <a:lnTo>
                  <a:pt x="0" y="4584"/>
                </a:lnTo>
                <a:lnTo>
                  <a:pt x="2209" y="9690"/>
                </a:lnTo>
                <a:lnTo>
                  <a:pt x="2794" y="8166"/>
                </a:lnTo>
                <a:lnTo>
                  <a:pt x="3746" y="7823"/>
                </a:lnTo>
                <a:lnTo>
                  <a:pt x="4711" y="7505"/>
                </a:lnTo>
                <a:lnTo>
                  <a:pt x="6286" y="1778"/>
                </a:lnTo>
                <a:lnTo>
                  <a:pt x="6515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1" name="bk object 221"/>
          <p:cNvSpPr/>
          <p:nvPr/>
        </p:nvSpPr>
        <p:spPr>
          <a:xfrm>
            <a:off x="5470563" y="591964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5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2" name="bk object 222"/>
          <p:cNvSpPr/>
          <p:nvPr/>
        </p:nvSpPr>
        <p:spPr>
          <a:xfrm>
            <a:off x="5472973" y="5920610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5" y="0"/>
                </a:moveTo>
                <a:lnTo>
                  <a:pt x="0" y="3200"/>
                </a:lnTo>
                <a:lnTo>
                  <a:pt x="2082" y="7099"/>
                </a:lnTo>
                <a:lnTo>
                  <a:pt x="2362" y="5994"/>
                </a:lnTo>
                <a:lnTo>
                  <a:pt x="3695" y="5613"/>
                </a:lnTo>
                <a:lnTo>
                  <a:pt x="4267" y="1447"/>
                </a:lnTo>
                <a:lnTo>
                  <a:pt x="4419" y="1384"/>
                </a:lnTo>
                <a:lnTo>
                  <a:pt x="228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3" name="bk object 223"/>
          <p:cNvSpPr/>
          <p:nvPr/>
        </p:nvSpPr>
        <p:spPr>
          <a:xfrm>
            <a:off x="5464954" y="5916921"/>
            <a:ext cx="11435" cy="81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4" name="bk object 224"/>
          <p:cNvSpPr/>
          <p:nvPr/>
        </p:nvSpPr>
        <p:spPr>
          <a:xfrm>
            <a:off x="5471169" y="5987770"/>
            <a:ext cx="76767" cy="76563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5" name="bk object 225"/>
          <p:cNvSpPr/>
          <p:nvPr/>
        </p:nvSpPr>
        <p:spPr>
          <a:xfrm>
            <a:off x="5556155" y="5920991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59" h="15240">
                <a:moveTo>
                  <a:pt x="22682" y="0"/>
                </a:moveTo>
                <a:lnTo>
                  <a:pt x="22301" y="228"/>
                </a:lnTo>
                <a:lnTo>
                  <a:pt x="21069" y="1079"/>
                </a:lnTo>
                <a:lnTo>
                  <a:pt x="0" y="14960"/>
                </a:lnTo>
                <a:lnTo>
                  <a:pt x="114" y="15227"/>
                </a:lnTo>
                <a:lnTo>
                  <a:pt x="2743" y="14732"/>
                </a:lnTo>
                <a:lnTo>
                  <a:pt x="22466" y="228"/>
                </a:lnTo>
                <a:lnTo>
                  <a:pt x="22707" y="88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6" name="bk object 226"/>
          <p:cNvSpPr/>
          <p:nvPr/>
        </p:nvSpPr>
        <p:spPr>
          <a:xfrm>
            <a:off x="5552998" y="5903803"/>
            <a:ext cx="25937" cy="2797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7" name="bk object 227"/>
          <p:cNvSpPr/>
          <p:nvPr/>
        </p:nvSpPr>
        <p:spPr>
          <a:xfrm>
            <a:off x="5477754" y="5929052"/>
            <a:ext cx="80684" cy="85718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8" name="bk object 228"/>
          <p:cNvSpPr/>
          <p:nvPr/>
        </p:nvSpPr>
        <p:spPr>
          <a:xfrm>
            <a:off x="5500693" y="5945185"/>
            <a:ext cx="28886" cy="56284"/>
          </a:xfrm>
          <a:custGeom>
            <a:avLst/>
            <a:gdLst/>
            <a:ahLst/>
            <a:cxnLst/>
            <a:rect l="l" t="t" r="r" b="b"/>
            <a:pathLst>
              <a:path w="36829" h="82550">
                <a:moveTo>
                  <a:pt x="36106" y="0"/>
                </a:moveTo>
                <a:lnTo>
                  <a:pt x="26682" y="7797"/>
                </a:lnTo>
                <a:lnTo>
                  <a:pt x="0" y="56426"/>
                </a:lnTo>
                <a:lnTo>
                  <a:pt x="11645" y="78486"/>
                </a:lnTo>
                <a:lnTo>
                  <a:pt x="16408" y="82486"/>
                </a:lnTo>
                <a:lnTo>
                  <a:pt x="21932" y="67208"/>
                </a:lnTo>
                <a:lnTo>
                  <a:pt x="24930" y="60528"/>
                </a:lnTo>
                <a:lnTo>
                  <a:pt x="25044" y="52755"/>
                </a:lnTo>
                <a:lnTo>
                  <a:pt x="29984" y="45364"/>
                </a:lnTo>
                <a:lnTo>
                  <a:pt x="32575" y="41008"/>
                </a:lnTo>
                <a:lnTo>
                  <a:pt x="33959" y="37680"/>
                </a:lnTo>
                <a:lnTo>
                  <a:pt x="33362" y="29959"/>
                </a:lnTo>
                <a:lnTo>
                  <a:pt x="33868" y="22175"/>
                </a:lnTo>
                <a:lnTo>
                  <a:pt x="35225" y="16651"/>
                </a:lnTo>
                <a:lnTo>
                  <a:pt x="36336" y="10290"/>
                </a:lnTo>
                <a:lnTo>
                  <a:pt x="36106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9" name="bk object 229"/>
          <p:cNvSpPr/>
          <p:nvPr/>
        </p:nvSpPr>
        <p:spPr>
          <a:xfrm>
            <a:off x="5480124" y="5985836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5" h="35559">
                <a:moveTo>
                  <a:pt x="15700" y="0"/>
                </a:moveTo>
                <a:lnTo>
                  <a:pt x="7065" y="2445"/>
                </a:lnTo>
                <a:lnTo>
                  <a:pt x="172" y="8772"/>
                </a:lnTo>
                <a:lnTo>
                  <a:pt x="0" y="17923"/>
                </a:lnTo>
                <a:lnTo>
                  <a:pt x="6222" y="25505"/>
                </a:lnTo>
                <a:lnTo>
                  <a:pt x="12471" y="31042"/>
                </a:lnTo>
                <a:lnTo>
                  <a:pt x="18541" y="34928"/>
                </a:lnTo>
                <a:lnTo>
                  <a:pt x="19405" y="35462"/>
                </a:lnTo>
                <a:lnTo>
                  <a:pt x="27431" y="31195"/>
                </a:lnTo>
                <a:lnTo>
                  <a:pt x="30810" y="18634"/>
                </a:lnTo>
                <a:lnTo>
                  <a:pt x="29324" y="17072"/>
                </a:lnTo>
                <a:lnTo>
                  <a:pt x="23863" y="9401"/>
                </a:lnTo>
                <a:lnTo>
                  <a:pt x="21094" y="2493"/>
                </a:lnTo>
                <a:lnTo>
                  <a:pt x="15700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0" name="bk object 230"/>
          <p:cNvSpPr/>
          <p:nvPr/>
        </p:nvSpPr>
        <p:spPr>
          <a:xfrm>
            <a:off x="5496670" y="5987536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5" h="30479">
                <a:moveTo>
                  <a:pt x="0" y="0"/>
                </a:moveTo>
                <a:lnTo>
                  <a:pt x="28092" y="29070"/>
                </a:lnTo>
                <a:lnTo>
                  <a:pt x="36931" y="30454"/>
                </a:lnTo>
                <a:lnTo>
                  <a:pt x="38816" y="30289"/>
                </a:lnTo>
                <a:lnTo>
                  <a:pt x="36931" y="30289"/>
                </a:lnTo>
                <a:lnTo>
                  <a:pt x="33947" y="30098"/>
                </a:lnTo>
                <a:lnTo>
                  <a:pt x="28143" y="28867"/>
                </a:lnTo>
                <a:lnTo>
                  <a:pt x="25336" y="27838"/>
                </a:lnTo>
                <a:lnTo>
                  <a:pt x="22720" y="26479"/>
                </a:lnTo>
                <a:lnTo>
                  <a:pt x="17424" y="23787"/>
                </a:lnTo>
                <a:lnTo>
                  <a:pt x="1143" y="2743"/>
                </a:lnTo>
                <a:lnTo>
                  <a:pt x="0" y="0"/>
                </a:lnTo>
                <a:close/>
              </a:path>
              <a:path w="56515" h="30479">
                <a:moveTo>
                  <a:pt x="43847" y="29706"/>
                </a:moveTo>
                <a:lnTo>
                  <a:pt x="36931" y="30289"/>
                </a:lnTo>
                <a:lnTo>
                  <a:pt x="38816" y="30289"/>
                </a:lnTo>
                <a:lnTo>
                  <a:pt x="42875" y="29933"/>
                </a:lnTo>
                <a:lnTo>
                  <a:pt x="43847" y="29706"/>
                </a:lnTo>
                <a:close/>
              </a:path>
              <a:path w="56515" h="30479">
                <a:moveTo>
                  <a:pt x="53676" y="25853"/>
                </a:moveTo>
                <a:lnTo>
                  <a:pt x="51358" y="27101"/>
                </a:lnTo>
                <a:lnTo>
                  <a:pt x="45808" y="29248"/>
                </a:lnTo>
                <a:lnTo>
                  <a:pt x="43847" y="29706"/>
                </a:lnTo>
                <a:lnTo>
                  <a:pt x="45821" y="29540"/>
                </a:lnTo>
                <a:lnTo>
                  <a:pt x="51523" y="27279"/>
                </a:lnTo>
                <a:lnTo>
                  <a:pt x="53676" y="25853"/>
                </a:lnTo>
                <a:close/>
              </a:path>
              <a:path w="56515" h="30479">
                <a:moveTo>
                  <a:pt x="56451" y="24015"/>
                </a:moveTo>
                <a:lnTo>
                  <a:pt x="53676" y="25853"/>
                </a:lnTo>
                <a:lnTo>
                  <a:pt x="54000" y="25679"/>
                </a:lnTo>
                <a:lnTo>
                  <a:pt x="56451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1" name="bk object 231"/>
          <p:cNvSpPr/>
          <p:nvPr/>
        </p:nvSpPr>
        <p:spPr>
          <a:xfrm>
            <a:off x="5561275" y="5935356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4993" y="0"/>
                </a:moveTo>
                <a:lnTo>
                  <a:pt x="23215" y="1206"/>
                </a:lnTo>
                <a:lnTo>
                  <a:pt x="0" y="16497"/>
                </a:lnTo>
                <a:lnTo>
                  <a:pt x="114" y="16789"/>
                </a:lnTo>
                <a:lnTo>
                  <a:pt x="2997" y="16243"/>
                </a:lnTo>
                <a:lnTo>
                  <a:pt x="25006" y="101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2" name="bk object 232"/>
          <p:cNvSpPr/>
          <p:nvPr/>
        </p:nvSpPr>
        <p:spPr>
          <a:xfrm>
            <a:off x="5562032" y="5935400"/>
            <a:ext cx="18825" cy="11845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3" name="bk object 233"/>
          <p:cNvSpPr/>
          <p:nvPr/>
        </p:nvSpPr>
        <p:spPr>
          <a:xfrm>
            <a:off x="5487695" y="5959429"/>
            <a:ext cx="48545" cy="71965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4" name="bk object 234"/>
          <p:cNvSpPr/>
          <p:nvPr/>
        </p:nvSpPr>
        <p:spPr>
          <a:xfrm>
            <a:off x="5487685" y="5963187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40" h="93345">
                <a:moveTo>
                  <a:pt x="52933" y="0"/>
                </a:moveTo>
                <a:lnTo>
                  <a:pt x="39789" y="8534"/>
                </a:lnTo>
                <a:lnTo>
                  <a:pt x="0" y="64668"/>
                </a:lnTo>
                <a:lnTo>
                  <a:pt x="13093" y="92290"/>
                </a:lnTo>
                <a:lnTo>
                  <a:pt x="14143" y="92831"/>
                </a:lnTo>
                <a:lnTo>
                  <a:pt x="17111" y="92678"/>
                </a:lnTo>
                <a:lnTo>
                  <a:pt x="21725" y="89172"/>
                </a:lnTo>
                <a:lnTo>
                  <a:pt x="27711" y="79654"/>
                </a:lnTo>
                <a:lnTo>
                  <a:pt x="30622" y="73559"/>
                </a:lnTo>
                <a:lnTo>
                  <a:pt x="33086" y="67106"/>
                </a:lnTo>
                <a:lnTo>
                  <a:pt x="36041" y="60530"/>
                </a:lnTo>
                <a:lnTo>
                  <a:pt x="40424" y="54063"/>
                </a:lnTo>
                <a:lnTo>
                  <a:pt x="44234" y="49034"/>
                </a:lnTo>
                <a:lnTo>
                  <a:pt x="46393" y="45161"/>
                </a:lnTo>
                <a:lnTo>
                  <a:pt x="46393" y="35813"/>
                </a:lnTo>
                <a:lnTo>
                  <a:pt x="47822" y="26492"/>
                </a:lnTo>
                <a:lnTo>
                  <a:pt x="50139" y="19964"/>
                </a:lnTo>
                <a:lnTo>
                  <a:pt x="52218" y="12407"/>
                </a:lnTo>
                <a:lnTo>
                  <a:pt x="529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5" name="bk object 235"/>
          <p:cNvSpPr/>
          <p:nvPr/>
        </p:nvSpPr>
        <p:spPr>
          <a:xfrm>
            <a:off x="5476846" y="5944250"/>
            <a:ext cx="86933" cy="94506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6" name="bk object 236"/>
          <p:cNvSpPr/>
          <p:nvPr/>
        </p:nvSpPr>
        <p:spPr>
          <a:xfrm>
            <a:off x="5477415" y="6006852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90" h="39370">
                <a:moveTo>
                  <a:pt x="17345" y="0"/>
                </a:moveTo>
                <a:lnTo>
                  <a:pt x="7816" y="2700"/>
                </a:lnTo>
                <a:lnTo>
                  <a:pt x="203" y="9674"/>
                </a:lnTo>
                <a:lnTo>
                  <a:pt x="0" y="19757"/>
                </a:lnTo>
                <a:lnTo>
                  <a:pt x="5159" y="25622"/>
                </a:lnTo>
                <a:lnTo>
                  <a:pt x="10301" y="30673"/>
                </a:lnTo>
                <a:lnTo>
                  <a:pt x="15407" y="34952"/>
                </a:lnTo>
                <a:lnTo>
                  <a:pt x="20459" y="38503"/>
                </a:lnTo>
                <a:lnTo>
                  <a:pt x="21424" y="39112"/>
                </a:lnTo>
                <a:lnTo>
                  <a:pt x="30276" y="34388"/>
                </a:lnTo>
                <a:lnTo>
                  <a:pt x="33972" y="20545"/>
                </a:lnTo>
                <a:lnTo>
                  <a:pt x="32372" y="18818"/>
                </a:lnTo>
                <a:lnTo>
                  <a:pt x="26339" y="10385"/>
                </a:lnTo>
                <a:lnTo>
                  <a:pt x="23291" y="2739"/>
                </a:lnTo>
                <a:lnTo>
                  <a:pt x="17345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7" name="bk object 237"/>
          <p:cNvSpPr/>
          <p:nvPr/>
        </p:nvSpPr>
        <p:spPr>
          <a:xfrm>
            <a:off x="5495683" y="6008720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0" y="0"/>
                </a:moveTo>
                <a:lnTo>
                  <a:pt x="27838" y="30937"/>
                </a:lnTo>
                <a:lnTo>
                  <a:pt x="40716" y="33591"/>
                </a:lnTo>
                <a:lnTo>
                  <a:pt x="42896" y="33401"/>
                </a:lnTo>
                <a:lnTo>
                  <a:pt x="40716" y="33401"/>
                </a:lnTo>
                <a:lnTo>
                  <a:pt x="37414" y="33197"/>
                </a:lnTo>
                <a:lnTo>
                  <a:pt x="9969" y="16852"/>
                </a:lnTo>
                <a:lnTo>
                  <a:pt x="7861" y="14338"/>
                </a:lnTo>
                <a:lnTo>
                  <a:pt x="6007" y="11633"/>
                </a:lnTo>
                <a:lnTo>
                  <a:pt x="2692" y="5981"/>
                </a:lnTo>
                <a:lnTo>
                  <a:pt x="1244" y="3048"/>
                </a:lnTo>
                <a:lnTo>
                  <a:pt x="0" y="0"/>
                </a:lnTo>
                <a:close/>
              </a:path>
              <a:path w="62229" h="33654">
                <a:moveTo>
                  <a:pt x="48319" y="32769"/>
                </a:moveTo>
                <a:lnTo>
                  <a:pt x="40716" y="33401"/>
                </a:lnTo>
                <a:lnTo>
                  <a:pt x="42896" y="33401"/>
                </a:lnTo>
                <a:lnTo>
                  <a:pt x="47256" y="33020"/>
                </a:lnTo>
                <a:lnTo>
                  <a:pt x="48319" y="32769"/>
                </a:lnTo>
                <a:close/>
              </a:path>
              <a:path w="62229" h="33654">
                <a:moveTo>
                  <a:pt x="59286" y="28438"/>
                </a:moveTo>
                <a:lnTo>
                  <a:pt x="56616" y="29895"/>
                </a:lnTo>
                <a:lnTo>
                  <a:pt x="50495" y="32258"/>
                </a:lnTo>
                <a:lnTo>
                  <a:pt x="48319" y="32769"/>
                </a:lnTo>
                <a:lnTo>
                  <a:pt x="50507" y="32588"/>
                </a:lnTo>
                <a:lnTo>
                  <a:pt x="56794" y="30086"/>
                </a:lnTo>
                <a:lnTo>
                  <a:pt x="59286" y="28438"/>
                </a:lnTo>
                <a:close/>
              </a:path>
              <a:path w="62229" h="33654">
                <a:moveTo>
                  <a:pt x="62230" y="26492"/>
                </a:moveTo>
                <a:lnTo>
                  <a:pt x="59286" y="28438"/>
                </a:lnTo>
                <a:lnTo>
                  <a:pt x="59524" y="28308"/>
                </a:lnTo>
                <a:lnTo>
                  <a:pt x="62230" y="264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8" name="bk object 238"/>
          <p:cNvSpPr/>
          <p:nvPr/>
        </p:nvSpPr>
        <p:spPr>
          <a:xfrm>
            <a:off x="5480922" y="6025428"/>
            <a:ext cx="13088" cy="3662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9" name="bk object 239"/>
          <p:cNvSpPr/>
          <p:nvPr/>
        </p:nvSpPr>
        <p:spPr>
          <a:xfrm>
            <a:off x="5410091" y="5987765"/>
            <a:ext cx="89836" cy="6496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0" name="bk object 240"/>
          <p:cNvSpPr/>
          <p:nvPr/>
        </p:nvSpPr>
        <p:spPr>
          <a:xfrm>
            <a:off x="5384003" y="5920991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59" h="15240">
                <a:moveTo>
                  <a:pt x="25" y="0"/>
                </a:moveTo>
                <a:lnTo>
                  <a:pt x="241" y="228"/>
                </a:lnTo>
                <a:lnTo>
                  <a:pt x="19964" y="14732"/>
                </a:lnTo>
                <a:lnTo>
                  <a:pt x="22580" y="15227"/>
                </a:lnTo>
                <a:lnTo>
                  <a:pt x="22694" y="14960"/>
                </a:lnTo>
                <a:lnTo>
                  <a:pt x="1638" y="1079"/>
                </a:lnTo>
                <a:lnTo>
                  <a:pt x="406" y="228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1" name="bk object 241"/>
          <p:cNvSpPr/>
          <p:nvPr/>
        </p:nvSpPr>
        <p:spPr>
          <a:xfrm>
            <a:off x="5377458" y="5903803"/>
            <a:ext cx="25937" cy="2797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2" name="bk object 242"/>
          <p:cNvSpPr/>
          <p:nvPr/>
        </p:nvSpPr>
        <p:spPr>
          <a:xfrm>
            <a:off x="5422083" y="5942829"/>
            <a:ext cx="46437" cy="65272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3" name="bk object 243"/>
          <p:cNvSpPr/>
          <p:nvPr/>
        </p:nvSpPr>
        <p:spPr>
          <a:xfrm>
            <a:off x="5428935" y="5945904"/>
            <a:ext cx="26396" cy="45460"/>
          </a:xfrm>
          <a:custGeom>
            <a:avLst/>
            <a:gdLst/>
            <a:ahLst/>
            <a:cxnLst/>
            <a:rect l="l" t="t" r="r" b="b"/>
            <a:pathLst>
              <a:path w="33654" h="66675">
                <a:moveTo>
                  <a:pt x="533" y="0"/>
                </a:moveTo>
                <a:lnTo>
                  <a:pt x="0" y="8110"/>
                </a:lnTo>
                <a:lnTo>
                  <a:pt x="862" y="13201"/>
                </a:lnTo>
                <a:lnTo>
                  <a:pt x="1989" y="17645"/>
                </a:lnTo>
                <a:lnTo>
                  <a:pt x="2248" y="23812"/>
                </a:lnTo>
                <a:lnTo>
                  <a:pt x="1448" y="29857"/>
                </a:lnTo>
                <a:lnTo>
                  <a:pt x="2680" y="32575"/>
                </a:lnTo>
                <a:lnTo>
                  <a:pt x="5017" y="36182"/>
                </a:lnTo>
                <a:lnTo>
                  <a:pt x="9525" y="42329"/>
                </a:lnTo>
                <a:lnTo>
                  <a:pt x="9398" y="48475"/>
                </a:lnTo>
                <a:lnTo>
                  <a:pt x="12052" y="53936"/>
                </a:lnTo>
                <a:lnTo>
                  <a:pt x="16878" y="66332"/>
                </a:lnTo>
                <a:lnTo>
                  <a:pt x="21527" y="63461"/>
                </a:lnTo>
                <a:lnTo>
                  <a:pt x="33287" y="46812"/>
                </a:lnTo>
                <a:lnTo>
                  <a:pt x="9271" y="6769"/>
                </a:lnTo>
                <a:lnTo>
                  <a:pt x="5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4" name="bk object 244"/>
          <p:cNvSpPr/>
          <p:nvPr/>
        </p:nvSpPr>
        <p:spPr>
          <a:xfrm>
            <a:off x="5399523" y="5929052"/>
            <a:ext cx="78842" cy="8571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5" name="bk object 245"/>
          <p:cNvSpPr/>
          <p:nvPr/>
        </p:nvSpPr>
        <p:spPr>
          <a:xfrm>
            <a:off x="5453669" y="5985836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5" h="35559">
                <a:moveTo>
                  <a:pt x="15104" y="0"/>
                </a:moveTo>
                <a:lnTo>
                  <a:pt x="9702" y="2493"/>
                </a:lnTo>
                <a:lnTo>
                  <a:pt x="6934" y="9401"/>
                </a:lnTo>
                <a:lnTo>
                  <a:pt x="1485" y="17072"/>
                </a:lnTo>
                <a:lnTo>
                  <a:pt x="0" y="18634"/>
                </a:lnTo>
                <a:lnTo>
                  <a:pt x="3378" y="31195"/>
                </a:lnTo>
                <a:lnTo>
                  <a:pt x="11404" y="35462"/>
                </a:lnTo>
                <a:lnTo>
                  <a:pt x="12268" y="34928"/>
                </a:lnTo>
                <a:lnTo>
                  <a:pt x="18338" y="31042"/>
                </a:lnTo>
                <a:lnTo>
                  <a:pt x="24587" y="25505"/>
                </a:lnTo>
                <a:lnTo>
                  <a:pt x="30797" y="17923"/>
                </a:lnTo>
                <a:lnTo>
                  <a:pt x="30632" y="8772"/>
                </a:lnTo>
                <a:lnTo>
                  <a:pt x="23741" y="2445"/>
                </a:lnTo>
                <a:lnTo>
                  <a:pt x="1510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6" name="bk object 246"/>
          <p:cNvSpPr/>
          <p:nvPr/>
        </p:nvSpPr>
        <p:spPr>
          <a:xfrm>
            <a:off x="5417004" y="5987536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5" h="30479">
                <a:moveTo>
                  <a:pt x="12604" y="29705"/>
                </a:moveTo>
                <a:lnTo>
                  <a:pt x="13576" y="29933"/>
                </a:lnTo>
                <a:lnTo>
                  <a:pt x="19519" y="30454"/>
                </a:lnTo>
                <a:lnTo>
                  <a:pt x="22314" y="30289"/>
                </a:lnTo>
                <a:lnTo>
                  <a:pt x="19519" y="30289"/>
                </a:lnTo>
                <a:lnTo>
                  <a:pt x="12604" y="29705"/>
                </a:lnTo>
                <a:close/>
              </a:path>
              <a:path w="56515" h="30479">
                <a:moveTo>
                  <a:pt x="56451" y="0"/>
                </a:moveTo>
                <a:lnTo>
                  <a:pt x="33731" y="26479"/>
                </a:lnTo>
                <a:lnTo>
                  <a:pt x="31127" y="27838"/>
                </a:lnTo>
                <a:lnTo>
                  <a:pt x="28308" y="28867"/>
                </a:lnTo>
                <a:lnTo>
                  <a:pt x="22517" y="30098"/>
                </a:lnTo>
                <a:lnTo>
                  <a:pt x="19519" y="30289"/>
                </a:lnTo>
                <a:lnTo>
                  <a:pt x="22529" y="30276"/>
                </a:lnTo>
                <a:lnTo>
                  <a:pt x="54088" y="5422"/>
                </a:lnTo>
                <a:lnTo>
                  <a:pt x="55376" y="2743"/>
                </a:lnTo>
                <a:lnTo>
                  <a:pt x="56451" y="0"/>
                </a:lnTo>
                <a:close/>
              </a:path>
              <a:path w="56515" h="30479">
                <a:moveTo>
                  <a:pt x="2853" y="25896"/>
                </a:moveTo>
                <a:lnTo>
                  <a:pt x="4953" y="27279"/>
                </a:lnTo>
                <a:lnTo>
                  <a:pt x="10642" y="29540"/>
                </a:lnTo>
                <a:lnTo>
                  <a:pt x="12604" y="29705"/>
                </a:lnTo>
                <a:lnTo>
                  <a:pt x="10655" y="29248"/>
                </a:lnTo>
                <a:lnTo>
                  <a:pt x="5092" y="27101"/>
                </a:lnTo>
                <a:lnTo>
                  <a:pt x="2853" y="25896"/>
                </a:lnTo>
                <a:close/>
              </a:path>
              <a:path w="56515" h="30479">
                <a:moveTo>
                  <a:pt x="0" y="24015"/>
                </a:moveTo>
                <a:lnTo>
                  <a:pt x="2451" y="25679"/>
                </a:lnTo>
                <a:lnTo>
                  <a:pt x="2853" y="25896"/>
                </a:lnTo>
                <a:lnTo>
                  <a:pt x="0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7" name="bk object 247"/>
          <p:cNvSpPr/>
          <p:nvPr/>
        </p:nvSpPr>
        <p:spPr>
          <a:xfrm>
            <a:off x="5377070" y="5935356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5" y="0"/>
                </a:moveTo>
                <a:lnTo>
                  <a:pt x="248" y="266"/>
                </a:lnTo>
                <a:lnTo>
                  <a:pt x="22021" y="16243"/>
                </a:lnTo>
                <a:lnTo>
                  <a:pt x="24892" y="16789"/>
                </a:lnTo>
                <a:lnTo>
                  <a:pt x="25019" y="16497"/>
                </a:lnTo>
                <a:lnTo>
                  <a:pt x="1803" y="1206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8" name="bk object 248"/>
          <p:cNvSpPr/>
          <p:nvPr/>
        </p:nvSpPr>
        <p:spPr>
          <a:xfrm>
            <a:off x="5377110" y="5935400"/>
            <a:ext cx="18795" cy="11845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9" name="bk object 249"/>
          <p:cNvSpPr/>
          <p:nvPr/>
        </p:nvSpPr>
        <p:spPr>
          <a:xfrm>
            <a:off x="5419052" y="5959429"/>
            <a:ext cx="51211" cy="71965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0" name="bk object 250"/>
          <p:cNvSpPr/>
          <p:nvPr/>
        </p:nvSpPr>
        <p:spPr>
          <a:xfrm>
            <a:off x="5428757" y="5963187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40" h="93345">
                <a:moveTo>
                  <a:pt x="0" y="0"/>
                </a:moveTo>
                <a:lnTo>
                  <a:pt x="707" y="12407"/>
                </a:lnTo>
                <a:lnTo>
                  <a:pt x="2782" y="19964"/>
                </a:lnTo>
                <a:lnTo>
                  <a:pt x="5098" y="26492"/>
                </a:lnTo>
                <a:lnTo>
                  <a:pt x="6527" y="35813"/>
                </a:lnTo>
                <a:lnTo>
                  <a:pt x="6527" y="45161"/>
                </a:lnTo>
                <a:lnTo>
                  <a:pt x="8699" y="49034"/>
                </a:lnTo>
                <a:lnTo>
                  <a:pt x="12496" y="54063"/>
                </a:lnTo>
                <a:lnTo>
                  <a:pt x="16887" y="60530"/>
                </a:lnTo>
                <a:lnTo>
                  <a:pt x="19843" y="67106"/>
                </a:lnTo>
                <a:lnTo>
                  <a:pt x="22305" y="73559"/>
                </a:lnTo>
                <a:lnTo>
                  <a:pt x="25209" y="79654"/>
                </a:lnTo>
                <a:lnTo>
                  <a:pt x="31201" y="89172"/>
                </a:lnTo>
                <a:lnTo>
                  <a:pt x="35813" y="92678"/>
                </a:lnTo>
                <a:lnTo>
                  <a:pt x="38779" y="92831"/>
                </a:lnTo>
                <a:lnTo>
                  <a:pt x="39827" y="92290"/>
                </a:lnTo>
                <a:lnTo>
                  <a:pt x="52920" y="64668"/>
                </a:lnTo>
                <a:lnTo>
                  <a:pt x="13131" y="8534"/>
                </a:lnTo>
                <a:lnTo>
                  <a:pt x="0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1" name="bk object 251"/>
          <p:cNvSpPr/>
          <p:nvPr/>
        </p:nvSpPr>
        <p:spPr>
          <a:xfrm>
            <a:off x="5394179" y="5944250"/>
            <a:ext cx="86937" cy="9450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2" name="bk object 252"/>
          <p:cNvSpPr/>
          <p:nvPr/>
        </p:nvSpPr>
        <p:spPr>
          <a:xfrm>
            <a:off x="5453888" y="6006852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90" h="39370">
                <a:moveTo>
                  <a:pt x="16629" y="0"/>
                </a:moveTo>
                <a:lnTo>
                  <a:pt x="10680" y="2739"/>
                </a:lnTo>
                <a:lnTo>
                  <a:pt x="7645" y="10385"/>
                </a:lnTo>
                <a:lnTo>
                  <a:pt x="1612" y="18818"/>
                </a:lnTo>
                <a:lnTo>
                  <a:pt x="0" y="20545"/>
                </a:lnTo>
                <a:lnTo>
                  <a:pt x="3695" y="34388"/>
                </a:lnTo>
                <a:lnTo>
                  <a:pt x="12560" y="39112"/>
                </a:lnTo>
                <a:lnTo>
                  <a:pt x="13512" y="38503"/>
                </a:lnTo>
                <a:lnTo>
                  <a:pt x="18565" y="34952"/>
                </a:lnTo>
                <a:lnTo>
                  <a:pt x="23672" y="30673"/>
                </a:lnTo>
                <a:lnTo>
                  <a:pt x="28818" y="25622"/>
                </a:lnTo>
                <a:lnTo>
                  <a:pt x="33985" y="19757"/>
                </a:lnTo>
                <a:lnTo>
                  <a:pt x="33780" y="9674"/>
                </a:lnTo>
                <a:lnTo>
                  <a:pt x="26162" y="2700"/>
                </a:lnTo>
                <a:lnTo>
                  <a:pt x="16629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3" name="bk object 253"/>
          <p:cNvSpPr/>
          <p:nvPr/>
        </p:nvSpPr>
        <p:spPr>
          <a:xfrm>
            <a:off x="5413467" y="6008720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13898" y="32769"/>
                </a:moveTo>
                <a:lnTo>
                  <a:pt x="14960" y="33020"/>
                </a:lnTo>
                <a:lnTo>
                  <a:pt x="21501" y="33591"/>
                </a:lnTo>
                <a:lnTo>
                  <a:pt x="24620" y="33401"/>
                </a:lnTo>
                <a:lnTo>
                  <a:pt x="21501" y="33401"/>
                </a:lnTo>
                <a:lnTo>
                  <a:pt x="13898" y="32769"/>
                </a:lnTo>
                <a:close/>
              </a:path>
              <a:path w="62229" h="33654">
                <a:moveTo>
                  <a:pt x="62217" y="0"/>
                </a:moveTo>
                <a:lnTo>
                  <a:pt x="52260" y="16852"/>
                </a:lnTo>
                <a:lnTo>
                  <a:pt x="48107" y="21894"/>
                </a:lnTo>
                <a:lnTo>
                  <a:pt x="21501" y="33401"/>
                </a:lnTo>
                <a:lnTo>
                  <a:pt x="24828" y="33388"/>
                </a:lnTo>
                <a:lnTo>
                  <a:pt x="56373" y="11633"/>
                </a:lnTo>
                <a:lnTo>
                  <a:pt x="61028" y="3048"/>
                </a:lnTo>
                <a:lnTo>
                  <a:pt x="62217" y="0"/>
                </a:lnTo>
                <a:close/>
              </a:path>
              <a:path w="62229" h="33654">
                <a:moveTo>
                  <a:pt x="2948" y="28441"/>
                </a:moveTo>
                <a:lnTo>
                  <a:pt x="5435" y="30086"/>
                </a:lnTo>
                <a:lnTo>
                  <a:pt x="11722" y="32588"/>
                </a:lnTo>
                <a:lnTo>
                  <a:pt x="13898" y="32769"/>
                </a:lnTo>
                <a:lnTo>
                  <a:pt x="11734" y="32258"/>
                </a:lnTo>
                <a:lnTo>
                  <a:pt x="5600" y="29895"/>
                </a:lnTo>
                <a:lnTo>
                  <a:pt x="2948" y="28441"/>
                </a:lnTo>
                <a:close/>
              </a:path>
              <a:path w="62229" h="33654">
                <a:moveTo>
                  <a:pt x="0" y="26492"/>
                </a:moveTo>
                <a:lnTo>
                  <a:pt x="2705" y="28308"/>
                </a:lnTo>
                <a:lnTo>
                  <a:pt x="2948" y="28441"/>
                </a:lnTo>
                <a:lnTo>
                  <a:pt x="0" y="264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4" name="bk object 254"/>
          <p:cNvSpPr/>
          <p:nvPr/>
        </p:nvSpPr>
        <p:spPr>
          <a:xfrm>
            <a:off x="5457514" y="6022658"/>
            <a:ext cx="18975" cy="3939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5" name="bk object 255"/>
          <p:cNvSpPr/>
          <p:nvPr/>
        </p:nvSpPr>
        <p:spPr>
          <a:xfrm>
            <a:off x="5467007" y="6026735"/>
            <a:ext cx="23408" cy="17750"/>
          </a:xfrm>
          <a:custGeom>
            <a:avLst/>
            <a:gdLst/>
            <a:ahLst/>
            <a:cxnLst/>
            <a:rect l="l" t="t" r="r" b="b"/>
            <a:pathLst>
              <a:path w="29845" h="26034">
                <a:moveTo>
                  <a:pt x="26212" y="0"/>
                </a:moveTo>
                <a:lnTo>
                  <a:pt x="2451" y="2400"/>
                </a:lnTo>
                <a:lnTo>
                  <a:pt x="0" y="10325"/>
                </a:lnTo>
                <a:lnTo>
                  <a:pt x="6781" y="12026"/>
                </a:lnTo>
                <a:lnTo>
                  <a:pt x="7823" y="16903"/>
                </a:lnTo>
                <a:lnTo>
                  <a:pt x="7429" y="19786"/>
                </a:lnTo>
                <a:lnTo>
                  <a:pt x="8839" y="20383"/>
                </a:lnTo>
                <a:lnTo>
                  <a:pt x="10655" y="20967"/>
                </a:lnTo>
                <a:lnTo>
                  <a:pt x="12712" y="25819"/>
                </a:lnTo>
                <a:lnTo>
                  <a:pt x="18326" y="23253"/>
                </a:lnTo>
                <a:lnTo>
                  <a:pt x="19113" y="21018"/>
                </a:lnTo>
                <a:lnTo>
                  <a:pt x="20650" y="20523"/>
                </a:lnTo>
                <a:lnTo>
                  <a:pt x="22097" y="20523"/>
                </a:lnTo>
                <a:lnTo>
                  <a:pt x="23037" y="17932"/>
                </a:lnTo>
                <a:lnTo>
                  <a:pt x="23037" y="13728"/>
                </a:lnTo>
                <a:lnTo>
                  <a:pt x="26276" y="11696"/>
                </a:lnTo>
                <a:lnTo>
                  <a:pt x="29692" y="10325"/>
                </a:lnTo>
                <a:lnTo>
                  <a:pt x="28651" y="5829"/>
                </a:lnTo>
                <a:lnTo>
                  <a:pt x="26212" y="0"/>
                </a:lnTo>
                <a:close/>
              </a:path>
            </a:pathLst>
          </a:custGeom>
          <a:solidFill>
            <a:srgbClr val="6A5551">
              <a:alpha val="5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6" name="bk object 256"/>
          <p:cNvSpPr/>
          <p:nvPr/>
        </p:nvSpPr>
        <p:spPr>
          <a:xfrm>
            <a:off x="5443060" y="5999693"/>
            <a:ext cx="71817" cy="35337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7" name="bk object 257"/>
          <p:cNvSpPr/>
          <p:nvPr/>
        </p:nvSpPr>
        <p:spPr>
          <a:xfrm>
            <a:off x="5468420" y="6009557"/>
            <a:ext cx="20419" cy="3031"/>
          </a:xfrm>
          <a:custGeom>
            <a:avLst/>
            <a:gdLst/>
            <a:ahLst/>
            <a:cxnLst/>
            <a:rect l="l" t="t" r="r" b="b"/>
            <a:pathLst>
              <a:path w="26034" h="4445">
                <a:moveTo>
                  <a:pt x="7099" y="0"/>
                </a:moveTo>
                <a:lnTo>
                  <a:pt x="0" y="0"/>
                </a:lnTo>
                <a:lnTo>
                  <a:pt x="698" y="2158"/>
                </a:lnTo>
                <a:lnTo>
                  <a:pt x="2438" y="2158"/>
                </a:lnTo>
                <a:lnTo>
                  <a:pt x="4368" y="4343"/>
                </a:lnTo>
                <a:lnTo>
                  <a:pt x="23418" y="4343"/>
                </a:lnTo>
                <a:lnTo>
                  <a:pt x="25340" y="2235"/>
                </a:lnTo>
                <a:lnTo>
                  <a:pt x="9893" y="2235"/>
                </a:lnTo>
                <a:lnTo>
                  <a:pt x="7797" y="1879"/>
                </a:lnTo>
                <a:lnTo>
                  <a:pt x="7099" y="0"/>
                </a:lnTo>
                <a:close/>
              </a:path>
              <a:path w="26034" h="4445">
                <a:moveTo>
                  <a:pt x="25768" y="1765"/>
                </a:moveTo>
                <a:lnTo>
                  <a:pt x="9893" y="2235"/>
                </a:lnTo>
                <a:lnTo>
                  <a:pt x="25340" y="2235"/>
                </a:lnTo>
                <a:lnTo>
                  <a:pt x="25768" y="1765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8" name="bk object 258"/>
          <p:cNvSpPr/>
          <p:nvPr/>
        </p:nvSpPr>
        <p:spPr>
          <a:xfrm>
            <a:off x="5482565" y="6006439"/>
            <a:ext cx="5478" cy="4763"/>
          </a:xfrm>
          <a:custGeom>
            <a:avLst/>
            <a:gdLst/>
            <a:ahLst/>
            <a:cxnLst/>
            <a:rect l="l" t="t" r="r" b="b"/>
            <a:pathLst>
              <a:path w="6984" h="6984">
                <a:moveTo>
                  <a:pt x="279" y="0"/>
                </a:moveTo>
                <a:lnTo>
                  <a:pt x="0" y="177"/>
                </a:lnTo>
                <a:lnTo>
                  <a:pt x="38" y="342"/>
                </a:lnTo>
                <a:lnTo>
                  <a:pt x="6134" y="6756"/>
                </a:lnTo>
                <a:lnTo>
                  <a:pt x="6362" y="6591"/>
                </a:lnTo>
                <a:lnTo>
                  <a:pt x="279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9" name="bk object 259"/>
          <p:cNvSpPr/>
          <p:nvPr/>
        </p:nvSpPr>
        <p:spPr>
          <a:xfrm>
            <a:off x="5482455" y="6002750"/>
            <a:ext cx="498" cy="8659"/>
          </a:xfrm>
          <a:custGeom>
            <a:avLst/>
            <a:gdLst/>
            <a:ahLst/>
            <a:cxnLst/>
            <a:rect l="l" t="t" r="r" b="b"/>
            <a:pathLst>
              <a:path w="634" h="12700">
                <a:moveTo>
                  <a:pt x="266" y="0"/>
                </a:moveTo>
                <a:lnTo>
                  <a:pt x="0" y="0"/>
                </a:lnTo>
                <a:lnTo>
                  <a:pt x="0" y="12611"/>
                </a:lnTo>
                <a:lnTo>
                  <a:pt x="266" y="12611"/>
                </a:lnTo>
                <a:lnTo>
                  <a:pt x="393" y="12522"/>
                </a:lnTo>
                <a:lnTo>
                  <a:pt x="393" y="88"/>
                </a:lnTo>
                <a:lnTo>
                  <a:pt x="2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0" name="bk object 260"/>
          <p:cNvSpPr/>
          <p:nvPr/>
        </p:nvSpPr>
        <p:spPr>
          <a:xfrm>
            <a:off x="5478422" y="6002750"/>
            <a:ext cx="498" cy="8659"/>
          </a:xfrm>
          <a:custGeom>
            <a:avLst/>
            <a:gdLst/>
            <a:ahLst/>
            <a:cxnLst/>
            <a:rect l="l" t="t" r="r" b="b"/>
            <a:pathLst>
              <a:path w="634" h="12700">
                <a:moveTo>
                  <a:pt x="292" y="0"/>
                </a:moveTo>
                <a:lnTo>
                  <a:pt x="0" y="0"/>
                </a:lnTo>
                <a:lnTo>
                  <a:pt x="0" y="12611"/>
                </a:lnTo>
                <a:lnTo>
                  <a:pt x="292" y="12611"/>
                </a:lnTo>
                <a:lnTo>
                  <a:pt x="292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1" name="bk object 261"/>
          <p:cNvSpPr/>
          <p:nvPr/>
        </p:nvSpPr>
        <p:spPr>
          <a:xfrm>
            <a:off x="5468908" y="6004202"/>
            <a:ext cx="7969" cy="6061"/>
          </a:xfrm>
          <a:custGeom>
            <a:avLst/>
            <a:gdLst/>
            <a:ahLst/>
            <a:cxnLst/>
            <a:rect l="l" t="t" r="r" b="b"/>
            <a:pathLst>
              <a:path w="10159" h="8890">
                <a:moveTo>
                  <a:pt x="9651" y="0"/>
                </a:moveTo>
                <a:lnTo>
                  <a:pt x="76" y="8051"/>
                </a:lnTo>
                <a:lnTo>
                  <a:pt x="0" y="8255"/>
                </a:lnTo>
                <a:lnTo>
                  <a:pt x="139" y="8407"/>
                </a:lnTo>
                <a:lnTo>
                  <a:pt x="9842" y="368"/>
                </a:lnTo>
                <a:lnTo>
                  <a:pt x="9893" y="190"/>
                </a:lnTo>
                <a:lnTo>
                  <a:pt x="9766" y="12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2" name="bk object 262"/>
          <p:cNvSpPr/>
          <p:nvPr/>
        </p:nvSpPr>
        <p:spPr>
          <a:xfrm>
            <a:off x="5475533" y="6008302"/>
            <a:ext cx="498" cy="3464"/>
          </a:xfrm>
          <a:custGeom>
            <a:avLst/>
            <a:gdLst/>
            <a:ahLst/>
            <a:cxnLst/>
            <a:rect l="l" t="t" r="r" b="b"/>
            <a:pathLst>
              <a:path w="634" h="5079">
                <a:moveTo>
                  <a:pt x="330" y="0"/>
                </a:moveTo>
                <a:lnTo>
                  <a:pt x="0" y="0"/>
                </a:lnTo>
                <a:lnTo>
                  <a:pt x="0" y="4787"/>
                </a:lnTo>
                <a:lnTo>
                  <a:pt x="330" y="4787"/>
                </a:lnTo>
                <a:lnTo>
                  <a:pt x="469" y="4762"/>
                </a:lnTo>
                <a:lnTo>
                  <a:pt x="469" y="25"/>
                </a:lnTo>
                <a:lnTo>
                  <a:pt x="33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3" name="bk object 263"/>
          <p:cNvSpPr/>
          <p:nvPr/>
        </p:nvSpPr>
        <p:spPr>
          <a:xfrm>
            <a:off x="5483880" y="6008433"/>
            <a:ext cx="498" cy="3464"/>
          </a:xfrm>
          <a:custGeom>
            <a:avLst/>
            <a:gdLst/>
            <a:ahLst/>
            <a:cxnLst/>
            <a:rect l="l" t="t" r="r" b="b"/>
            <a:pathLst>
              <a:path w="634" h="5079">
                <a:moveTo>
                  <a:pt x="520" y="0"/>
                </a:moveTo>
                <a:lnTo>
                  <a:pt x="139" y="0"/>
                </a:lnTo>
                <a:lnTo>
                  <a:pt x="0" y="50"/>
                </a:lnTo>
                <a:lnTo>
                  <a:pt x="0" y="4762"/>
                </a:lnTo>
                <a:lnTo>
                  <a:pt x="139" y="4800"/>
                </a:lnTo>
                <a:lnTo>
                  <a:pt x="520" y="4800"/>
                </a:lnTo>
                <a:lnTo>
                  <a:pt x="52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4" name="bk object 264"/>
          <p:cNvSpPr/>
          <p:nvPr/>
        </p:nvSpPr>
        <p:spPr>
          <a:xfrm>
            <a:off x="5473401" y="6007313"/>
            <a:ext cx="13496" cy="225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5" name="bk object 265"/>
          <p:cNvSpPr/>
          <p:nvPr/>
        </p:nvSpPr>
        <p:spPr>
          <a:xfrm>
            <a:off x="5482575" y="6003067"/>
            <a:ext cx="1992" cy="866"/>
          </a:xfrm>
          <a:custGeom>
            <a:avLst/>
            <a:gdLst/>
            <a:ahLst/>
            <a:cxnLst/>
            <a:rect l="l" t="t" r="r" b="b"/>
            <a:pathLst>
              <a:path w="2540" h="1270">
                <a:moveTo>
                  <a:pt x="0" y="0"/>
                </a:moveTo>
                <a:lnTo>
                  <a:pt x="0" y="1066"/>
                </a:lnTo>
                <a:lnTo>
                  <a:pt x="1917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6" name="bk object 266"/>
          <p:cNvSpPr/>
          <p:nvPr/>
        </p:nvSpPr>
        <p:spPr>
          <a:xfrm>
            <a:off x="5478331" y="6003067"/>
            <a:ext cx="1992" cy="866"/>
          </a:xfrm>
          <a:custGeom>
            <a:avLst/>
            <a:gdLst/>
            <a:ahLst/>
            <a:cxnLst/>
            <a:rect l="l" t="t" r="r" b="b"/>
            <a:pathLst>
              <a:path w="2540" h="1270">
                <a:moveTo>
                  <a:pt x="0" y="0"/>
                </a:moveTo>
                <a:lnTo>
                  <a:pt x="0" y="1066"/>
                </a:lnTo>
                <a:lnTo>
                  <a:pt x="1930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7" name="bk object 267"/>
          <p:cNvSpPr/>
          <p:nvPr/>
        </p:nvSpPr>
        <p:spPr>
          <a:xfrm>
            <a:off x="5434703" y="5971040"/>
            <a:ext cx="89099" cy="35424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8" name="bk object 268"/>
          <p:cNvSpPr/>
          <p:nvPr/>
        </p:nvSpPr>
        <p:spPr>
          <a:xfrm>
            <a:off x="5470612" y="6023648"/>
            <a:ext cx="17431" cy="3031"/>
          </a:xfrm>
          <a:custGeom>
            <a:avLst/>
            <a:gdLst/>
            <a:ahLst/>
            <a:cxnLst/>
            <a:rect l="l" t="t" r="r" b="b"/>
            <a:pathLst>
              <a:path w="22225" h="4445">
                <a:moveTo>
                  <a:pt x="3365" y="317"/>
                </a:moveTo>
                <a:lnTo>
                  <a:pt x="0" y="317"/>
                </a:lnTo>
                <a:lnTo>
                  <a:pt x="1524" y="2552"/>
                </a:lnTo>
                <a:lnTo>
                  <a:pt x="3810" y="4000"/>
                </a:lnTo>
                <a:lnTo>
                  <a:pt x="18415" y="4000"/>
                </a:lnTo>
                <a:lnTo>
                  <a:pt x="21399" y="2095"/>
                </a:lnTo>
                <a:lnTo>
                  <a:pt x="19189" y="2095"/>
                </a:lnTo>
                <a:lnTo>
                  <a:pt x="4559" y="1828"/>
                </a:lnTo>
                <a:lnTo>
                  <a:pt x="3365" y="317"/>
                </a:lnTo>
                <a:close/>
              </a:path>
              <a:path w="22225" h="4445">
                <a:moveTo>
                  <a:pt x="22085" y="0"/>
                </a:moveTo>
                <a:lnTo>
                  <a:pt x="19189" y="317"/>
                </a:lnTo>
                <a:lnTo>
                  <a:pt x="19189" y="2095"/>
                </a:lnTo>
                <a:lnTo>
                  <a:pt x="21399" y="2095"/>
                </a:lnTo>
                <a:lnTo>
                  <a:pt x="22085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9" name="bk object 269"/>
          <p:cNvSpPr/>
          <p:nvPr/>
        </p:nvSpPr>
        <p:spPr>
          <a:xfrm>
            <a:off x="5474895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0" name="bk object 270"/>
          <p:cNvSpPr/>
          <p:nvPr/>
        </p:nvSpPr>
        <p:spPr>
          <a:xfrm>
            <a:off x="5478790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1" name="bk object 271"/>
          <p:cNvSpPr/>
          <p:nvPr/>
        </p:nvSpPr>
        <p:spPr>
          <a:xfrm>
            <a:off x="5482675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2" name="bk object 272"/>
          <p:cNvSpPr/>
          <p:nvPr/>
        </p:nvSpPr>
        <p:spPr>
          <a:xfrm>
            <a:off x="5475831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71" y="9601"/>
                </a:lnTo>
                <a:lnTo>
                  <a:pt x="749" y="9448"/>
                </a:lnTo>
                <a:lnTo>
                  <a:pt x="749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3" name="bk object 273"/>
          <p:cNvSpPr/>
          <p:nvPr/>
        </p:nvSpPr>
        <p:spPr>
          <a:xfrm>
            <a:off x="5479606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52" y="0"/>
                </a:lnTo>
                <a:lnTo>
                  <a:pt x="0" y="177"/>
                </a:lnTo>
                <a:lnTo>
                  <a:pt x="0" y="9448"/>
                </a:lnTo>
                <a:lnTo>
                  <a:pt x="152" y="9601"/>
                </a:lnTo>
                <a:lnTo>
                  <a:pt x="571" y="9601"/>
                </a:lnTo>
                <a:lnTo>
                  <a:pt x="736" y="9448"/>
                </a:lnTo>
                <a:lnTo>
                  <a:pt x="736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4" name="bk object 274"/>
          <p:cNvSpPr/>
          <p:nvPr/>
        </p:nvSpPr>
        <p:spPr>
          <a:xfrm>
            <a:off x="5483371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84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84" y="9601"/>
                </a:lnTo>
                <a:lnTo>
                  <a:pt x="761" y="9448"/>
                </a:lnTo>
                <a:lnTo>
                  <a:pt x="761" y="177"/>
                </a:lnTo>
                <a:lnTo>
                  <a:pt x="584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5" name="bk object 275"/>
          <p:cNvSpPr/>
          <p:nvPr/>
        </p:nvSpPr>
        <p:spPr>
          <a:xfrm>
            <a:off x="5474408" y="6020414"/>
            <a:ext cx="10976" cy="22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6" name="bk object 276"/>
          <p:cNvSpPr/>
          <p:nvPr/>
        </p:nvSpPr>
        <p:spPr>
          <a:xfrm>
            <a:off x="5476030" y="5979327"/>
            <a:ext cx="6475" cy="12989"/>
          </a:xfrm>
          <a:custGeom>
            <a:avLst/>
            <a:gdLst/>
            <a:ahLst/>
            <a:cxnLst/>
            <a:rect l="l" t="t" r="r" b="b"/>
            <a:pathLst>
              <a:path w="8254" h="19050">
                <a:moveTo>
                  <a:pt x="7294" y="16383"/>
                </a:moveTo>
                <a:lnTo>
                  <a:pt x="4546" y="16383"/>
                </a:lnTo>
                <a:lnTo>
                  <a:pt x="3449" y="16523"/>
                </a:lnTo>
                <a:lnTo>
                  <a:pt x="7861" y="19011"/>
                </a:lnTo>
                <a:lnTo>
                  <a:pt x="7294" y="16383"/>
                </a:lnTo>
                <a:close/>
              </a:path>
              <a:path w="8254" h="19050">
                <a:moveTo>
                  <a:pt x="3759" y="0"/>
                </a:moveTo>
                <a:lnTo>
                  <a:pt x="0" y="16967"/>
                </a:lnTo>
                <a:lnTo>
                  <a:pt x="3449" y="16523"/>
                </a:lnTo>
                <a:lnTo>
                  <a:pt x="3289" y="16433"/>
                </a:lnTo>
                <a:lnTo>
                  <a:pt x="4546" y="16383"/>
                </a:lnTo>
                <a:lnTo>
                  <a:pt x="7294" y="16383"/>
                </a:lnTo>
                <a:lnTo>
                  <a:pt x="3759" y="0"/>
                </a:lnTo>
                <a:close/>
              </a:path>
              <a:path w="8254" h="19050">
                <a:moveTo>
                  <a:pt x="4546" y="16383"/>
                </a:moveTo>
                <a:lnTo>
                  <a:pt x="3289" y="16433"/>
                </a:lnTo>
                <a:lnTo>
                  <a:pt x="3449" y="16523"/>
                </a:lnTo>
                <a:lnTo>
                  <a:pt x="4546" y="16383"/>
                </a:lnTo>
                <a:close/>
              </a:path>
            </a:pathLst>
          </a:custGeom>
          <a:solidFill>
            <a:srgbClr val="6A6C73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7" name="bk object 277"/>
          <p:cNvSpPr/>
          <p:nvPr/>
        </p:nvSpPr>
        <p:spPr>
          <a:xfrm>
            <a:off x="5470203" y="5976262"/>
            <a:ext cx="21635" cy="19838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8" name="bk object 278"/>
          <p:cNvSpPr/>
          <p:nvPr/>
        </p:nvSpPr>
        <p:spPr>
          <a:xfrm>
            <a:off x="5432761" y="5934300"/>
            <a:ext cx="93193" cy="102264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9" name="bk object 279"/>
          <p:cNvSpPr/>
          <p:nvPr/>
        </p:nvSpPr>
        <p:spPr>
          <a:xfrm>
            <a:off x="5433084" y="5925511"/>
            <a:ext cx="92489" cy="46126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0" name="bk object 280"/>
          <p:cNvSpPr/>
          <p:nvPr/>
        </p:nvSpPr>
        <p:spPr>
          <a:xfrm>
            <a:off x="5432850" y="5934742"/>
            <a:ext cx="92635" cy="13422"/>
          </a:xfrm>
          <a:custGeom>
            <a:avLst/>
            <a:gdLst/>
            <a:ahLst/>
            <a:cxnLst/>
            <a:rect l="l" t="t" r="r" b="b"/>
            <a:pathLst>
              <a:path w="118109" h="19684">
                <a:moveTo>
                  <a:pt x="116306" y="0"/>
                </a:moveTo>
                <a:lnTo>
                  <a:pt x="113144" y="0"/>
                </a:lnTo>
                <a:lnTo>
                  <a:pt x="117932" y="508"/>
                </a:lnTo>
                <a:lnTo>
                  <a:pt x="114769" y="508"/>
                </a:lnTo>
                <a:lnTo>
                  <a:pt x="98247" y="11297"/>
                </a:lnTo>
                <a:lnTo>
                  <a:pt x="79913" y="11433"/>
                </a:lnTo>
                <a:lnTo>
                  <a:pt x="65044" y="7030"/>
                </a:lnTo>
                <a:lnTo>
                  <a:pt x="58915" y="4203"/>
                </a:lnTo>
                <a:lnTo>
                  <a:pt x="37084" y="15683"/>
                </a:lnTo>
                <a:lnTo>
                  <a:pt x="23999" y="19124"/>
                </a:lnTo>
                <a:lnTo>
                  <a:pt x="14434" y="14181"/>
                </a:lnTo>
                <a:lnTo>
                  <a:pt x="3162" y="508"/>
                </a:lnTo>
                <a:lnTo>
                  <a:pt x="0" y="508"/>
                </a:lnTo>
              </a:path>
            </a:pathLst>
          </a:custGeom>
          <a:ln w="3175">
            <a:solidFill>
              <a:srgbClr val="BB882C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1" name="bk object 281"/>
          <p:cNvSpPr/>
          <p:nvPr/>
        </p:nvSpPr>
        <p:spPr>
          <a:xfrm>
            <a:off x="5433259" y="5934371"/>
            <a:ext cx="92137" cy="100878"/>
          </a:xfrm>
          <a:custGeom>
            <a:avLst/>
            <a:gdLst/>
            <a:ahLst/>
            <a:cxnLst/>
            <a:rect l="l" t="t" r="r" b="b"/>
            <a:pathLst>
              <a:path w="117475" h="147954">
                <a:moveTo>
                  <a:pt x="59448" y="146748"/>
                </a:moveTo>
                <a:lnTo>
                  <a:pt x="94412" y="113687"/>
                </a:lnTo>
                <a:lnTo>
                  <a:pt x="111467" y="77436"/>
                </a:lnTo>
                <a:lnTo>
                  <a:pt x="116873" y="39154"/>
                </a:lnTo>
                <a:lnTo>
                  <a:pt x="116890" y="0"/>
                </a:lnTo>
                <a:lnTo>
                  <a:pt x="113728" y="0"/>
                </a:lnTo>
                <a:lnTo>
                  <a:pt x="100804" y="9714"/>
                </a:lnTo>
                <a:lnTo>
                  <a:pt x="86061" y="11758"/>
                </a:lnTo>
                <a:lnTo>
                  <a:pt x="58445" y="3848"/>
                </a:lnTo>
                <a:lnTo>
                  <a:pt x="58064" y="4063"/>
                </a:lnTo>
                <a:lnTo>
                  <a:pt x="56870" y="4622"/>
                </a:lnTo>
                <a:lnTo>
                  <a:pt x="47464" y="8434"/>
                </a:lnTo>
                <a:lnTo>
                  <a:pt x="33100" y="11593"/>
                </a:lnTo>
                <a:lnTo>
                  <a:pt x="17192" y="10110"/>
                </a:lnTo>
                <a:lnTo>
                  <a:pt x="3149" y="0"/>
                </a:lnTo>
                <a:lnTo>
                  <a:pt x="0" y="0"/>
                </a:lnTo>
                <a:lnTo>
                  <a:pt x="14" y="39152"/>
                </a:lnTo>
                <a:lnTo>
                  <a:pt x="5413" y="77430"/>
                </a:lnTo>
                <a:lnTo>
                  <a:pt x="22456" y="113676"/>
                </a:lnTo>
                <a:lnTo>
                  <a:pt x="57404" y="146735"/>
                </a:lnTo>
                <a:lnTo>
                  <a:pt x="57861" y="147027"/>
                </a:lnTo>
                <a:lnTo>
                  <a:pt x="58445" y="147446"/>
                </a:lnTo>
                <a:lnTo>
                  <a:pt x="59016" y="147040"/>
                </a:lnTo>
                <a:lnTo>
                  <a:pt x="59448" y="146748"/>
                </a:lnTo>
                <a:close/>
              </a:path>
            </a:pathLst>
          </a:custGeom>
          <a:ln w="3175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2" name="bk object 282"/>
          <p:cNvSpPr/>
          <p:nvPr/>
        </p:nvSpPr>
        <p:spPr>
          <a:xfrm>
            <a:off x="5433459" y="5970911"/>
            <a:ext cx="91638" cy="0"/>
          </a:xfrm>
          <a:custGeom>
            <a:avLst/>
            <a:gdLst/>
            <a:ahLst/>
            <a:cxnLst/>
            <a:rect l="l" t="t" r="r" b="b"/>
            <a:pathLst>
              <a:path w="116840">
                <a:moveTo>
                  <a:pt x="0" y="0"/>
                </a:moveTo>
                <a:lnTo>
                  <a:pt x="11634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3" name="bk object 283"/>
          <p:cNvSpPr/>
          <p:nvPr/>
        </p:nvSpPr>
        <p:spPr>
          <a:xfrm>
            <a:off x="5442961" y="5999953"/>
            <a:ext cx="73212" cy="0"/>
          </a:xfrm>
          <a:custGeom>
            <a:avLst/>
            <a:gdLst/>
            <a:ahLst/>
            <a:cxnLst/>
            <a:rect l="l" t="t" r="r" b="b"/>
            <a:pathLst>
              <a:path w="93345">
                <a:moveTo>
                  <a:pt x="0" y="0"/>
                </a:moveTo>
                <a:lnTo>
                  <a:pt x="9301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4" name="bk object 284"/>
          <p:cNvSpPr/>
          <p:nvPr/>
        </p:nvSpPr>
        <p:spPr>
          <a:xfrm>
            <a:off x="5431401" y="5932109"/>
            <a:ext cx="47812" cy="104775"/>
          </a:xfrm>
          <a:custGeom>
            <a:avLst/>
            <a:gdLst/>
            <a:ahLst/>
            <a:cxnLst/>
            <a:rect l="l" t="t" r="r" b="b"/>
            <a:pathLst>
              <a:path w="60959" h="153670">
                <a:moveTo>
                  <a:pt x="387" y="25"/>
                </a:moveTo>
                <a:lnTo>
                  <a:pt x="94" y="10928"/>
                </a:lnTo>
                <a:lnTo>
                  <a:pt x="0" y="36385"/>
                </a:lnTo>
                <a:lnTo>
                  <a:pt x="171" y="43662"/>
                </a:lnTo>
                <a:lnTo>
                  <a:pt x="7118" y="86626"/>
                </a:lnTo>
                <a:lnTo>
                  <a:pt x="32759" y="130251"/>
                </a:lnTo>
                <a:lnTo>
                  <a:pt x="60814" y="153327"/>
                </a:lnTo>
                <a:lnTo>
                  <a:pt x="54768" y="149275"/>
                </a:lnTo>
                <a:lnTo>
                  <a:pt x="48939" y="144894"/>
                </a:lnTo>
                <a:lnTo>
                  <a:pt x="43478" y="140093"/>
                </a:lnTo>
                <a:lnTo>
                  <a:pt x="37992" y="135331"/>
                </a:lnTo>
                <a:lnTo>
                  <a:pt x="32874" y="130136"/>
                </a:lnTo>
                <a:lnTo>
                  <a:pt x="23603" y="118935"/>
                </a:lnTo>
                <a:lnTo>
                  <a:pt x="19475" y="112915"/>
                </a:lnTo>
                <a:lnTo>
                  <a:pt x="15995" y="106540"/>
                </a:lnTo>
                <a:lnTo>
                  <a:pt x="12465" y="100177"/>
                </a:lnTo>
                <a:lnTo>
                  <a:pt x="1043" y="54530"/>
                </a:lnTo>
                <a:lnTo>
                  <a:pt x="57" y="36385"/>
                </a:lnTo>
                <a:lnTo>
                  <a:pt x="159" y="10928"/>
                </a:lnTo>
                <a:lnTo>
                  <a:pt x="387" y="25"/>
                </a:lnTo>
                <a:close/>
              </a:path>
              <a:path w="60959" h="153670">
                <a:moveTo>
                  <a:pt x="1771" y="127"/>
                </a:moveTo>
                <a:lnTo>
                  <a:pt x="2096" y="355"/>
                </a:lnTo>
                <a:lnTo>
                  <a:pt x="2190" y="850"/>
                </a:lnTo>
                <a:lnTo>
                  <a:pt x="2114" y="355"/>
                </a:lnTo>
                <a:lnTo>
                  <a:pt x="1771" y="127"/>
                </a:lnTo>
                <a:close/>
              </a:path>
              <a:path w="60959" h="153670">
                <a:moveTo>
                  <a:pt x="666" y="0"/>
                </a:moveTo>
                <a:lnTo>
                  <a:pt x="387" y="0"/>
                </a:lnTo>
                <a:lnTo>
                  <a:pt x="933" y="38"/>
                </a:lnTo>
                <a:lnTo>
                  <a:pt x="1771" y="127"/>
                </a:lnTo>
                <a:lnTo>
                  <a:pt x="1492" y="76"/>
                </a:lnTo>
                <a:lnTo>
                  <a:pt x="6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5" name="bk object 285"/>
          <p:cNvSpPr/>
          <p:nvPr/>
        </p:nvSpPr>
        <p:spPr>
          <a:xfrm>
            <a:off x="5435978" y="5932690"/>
            <a:ext cx="43329" cy="8659"/>
          </a:xfrm>
          <a:custGeom>
            <a:avLst/>
            <a:gdLst/>
            <a:ahLst/>
            <a:cxnLst/>
            <a:rect l="l" t="t" r="r" b="b"/>
            <a:pathLst>
              <a:path w="55245" h="12700">
                <a:moveTo>
                  <a:pt x="8236" y="7775"/>
                </a:moveTo>
                <a:lnTo>
                  <a:pt x="9245" y="8407"/>
                </a:lnTo>
                <a:lnTo>
                  <a:pt x="16103" y="11557"/>
                </a:lnTo>
                <a:lnTo>
                  <a:pt x="21209" y="12407"/>
                </a:lnTo>
                <a:lnTo>
                  <a:pt x="31254" y="12242"/>
                </a:lnTo>
                <a:lnTo>
                  <a:pt x="31583" y="12179"/>
                </a:lnTo>
                <a:lnTo>
                  <a:pt x="21234" y="12179"/>
                </a:lnTo>
                <a:lnTo>
                  <a:pt x="16167" y="11366"/>
                </a:lnTo>
                <a:lnTo>
                  <a:pt x="8236" y="7775"/>
                </a:lnTo>
                <a:close/>
              </a:path>
              <a:path w="55245" h="12700">
                <a:moveTo>
                  <a:pt x="54889" y="3962"/>
                </a:moveTo>
                <a:lnTo>
                  <a:pt x="21234" y="12179"/>
                </a:lnTo>
                <a:lnTo>
                  <a:pt x="31583" y="12179"/>
                </a:lnTo>
                <a:lnTo>
                  <a:pt x="36258" y="11277"/>
                </a:lnTo>
                <a:lnTo>
                  <a:pt x="45847" y="8356"/>
                </a:lnTo>
                <a:lnTo>
                  <a:pt x="50495" y="6388"/>
                </a:lnTo>
                <a:lnTo>
                  <a:pt x="54889" y="3962"/>
                </a:lnTo>
                <a:close/>
              </a:path>
              <a:path w="55245" h="12700">
                <a:moveTo>
                  <a:pt x="1720" y="2219"/>
                </a:moveTo>
                <a:lnTo>
                  <a:pt x="3076" y="3962"/>
                </a:lnTo>
                <a:lnTo>
                  <a:pt x="7035" y="7239"/>
                </a:lnTo>
                <a:lnTo>
                  <a:pt x="8236" y="7775"/>
                </a:lnTo>
                <a:lnTo>
                  <a:pt x="7073" y="7048"/>
                </a:lnTo>
                <a:lnTo>
                  <a:pt x="3225" y="3848"/>
                </a:lnTo>
                <a:lnTo>
                  <a:pt x="1720" y="2219"/>
                </a:lnTo>
                <a:close/>
              </a:path>
              <a:path w="55245" h="12700">
                <a:moveTo>
                  <a:pt x="0" y="0"/>
                </a:moveTo>
                <a:lnTo>
                  <a:pt x="1511" y="1993"/>
                </a:lnTo>
                <a:lnTo>
                  <a:pt x="1720" y="221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6" name="bk object 286"/>
          <p:cNvSpPr/>
          <p:nvPr/>
        </p:nvSpPr>
        <p:spPr>
          <a:xfrm>
            <a:off x="5479099" y="5932681"/>
            <a:ext cx="43827" cy="8659"/>
          </a:xfrm>
          <a:custGeom>
            <a:avLst/>
            <a:gdLst/>
            <a:ahLst/>
            <a:cxnLst/>
            <a:rect l="l" t="t" r="r" b="b"/>
            <a:pathLst>
              <a:path w="55879" h="12700">
                <a:moveTo>
                  <a:pt x="0" y="3962"/>
                </a:moveTo>
                <a:lnTo>
                  <a:pt x="34099" y="12484"/>
                </a:lnTo>
                <a:lnTo>
                  <a:pt x="35362" y="12242"/>
                </a:lnTo>
                <a:lnTo>
                  <a:pt x="34061" y="12242"/>
                </a:lnTo>
                <a:lnTo>
                  <a:pt x="23939" y="12128"/>
                </a:lnTo>
                <a:lnTo>
                  <a:pt x="2260" y="5143"/>
                </a:lnTo>
                <a:lnTo>
                  <a:pt x="0" y="3962"/>
                </a:lnTo>
                <a:close/>
              </a:path>
              <a:path w="55879" h="12700">
                <a:moveTo>
                  <a:pt x="47114" y="7620"/>
                </a:moveTo>
                <a:lnTo>
                  <a:pt x="39166" y="11302"/>
                </a:lnTo>
                <a:lnTo>
                  <a:pt x="34061" y="12242"/>
                </a:lnTo>
                <a:lnTo>
                  <a:pt x="35362" y="12242"/>
                </a:lnTo>
                <a:lnTo>
                  <a:pt x="39217" y="11506"/>
                </a:lnTo>
                <a:lnTo>
                  <a:pt x="43827" y="9309"/>
                </a:lnTo>
                <a:lnTo>
                  <a:pt x="46126" y="8242"/>
                </a:lnTo>
                <a:lnTo>
                  <a:pt x="47114" y="7620"/>
                </a:lnTo>
                <a:close/>
              </a:path>
              <a:path w="55879" h="12700">
                <a:moveTo>
                  <a:pt x="53547" y="2460"/>
                </a:moveTo>
                <a:lnTo>
                  <a:pt x="52177" y="3784"/>
                </a:lnTo>
                <a:lnTo>
                  <a:pt x="48285" y="6883"/>
                </a:lnTo>
                <a:lnTo>
                  <a:pt x="47114" y="7620"/>
                </a:lnTo>
                <a:lnTo>
                  <a:pt x="48348" y="7048"/>
                </a:lnTo>
                <a:lnTo>
                  <a:pt x="52374" y="3784"/>
                </a:lnTo>
                <a:lnTo>
                  <a:pt x="53547" y="2460"/>
                </a:lnTo>
                <a:close/>
              </a:path>
              <a:path w="55879" h="12700">
                <a:moveTo>
                  <a:pt x="55727" y="0"/>
                </a:moveTo>
                <a:lnTo>
                  <a:pt x="53547" y="2460"/>
                </a:lnTo>
                <a:lnTo>
                  <a:pt x="54089" y="1930"/>
                </a:lnTo>
                <a:lnTo>
                  <a:pt x="5572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7" name="bk object 287"/>
          <p:cNvSpPr/>
          <p:nvPr/>
        </p:nvSpPr>
        <p:spPr>
          <a:xfrm>
            <a:off x="5479099" y="5932805"/>
            <a:ext cx="47812" cy="104342"/>
          </a:xfrm>
          <a:custGeom>
            <a:avLst/>
            <a:gdLst/>
            <a:ahLst/>
            <a:cxnLst/>
            <a:rect l="l" t="t" r="r" b="b"/>
            <a:pathLst>
              <a:path w="60959" h="153034">
                <a:moveTo>
                  <a:pt x="60463" y="9193"/>
                </a:moveTo>
                <a:lnTo>
                  <a:pt x="59202" y="55134"/>
                </a:lnTo>
                <a:lnTo>
                  <a:pt x="48977" y="96839"/>
                </a:lnTo>
                <a:lnTo>
                  <a:pt x="27711" y="129705"/>
                </a:lnTo>
                <a:lnTo>
                  <a:pt x="0" y="152425"/>
                </a:lnTo>
                <a:lnTo>
                  <a:pt x="11721" y="143992"/>
                </a:lnTo>
                <a:lnTo>
                  <a:pt x="38978" y="115590"/>
                </a:lnTo>
                <a:lnTo>
                  <a:pt x="55372" y="79971"/>
                </a:lnTo>
                <a:lnTo>
                  <a:pt x="60602" y="33677"/>
                </a:lnTo>
                <a:lnTo>
                  <a:pt x="60553" y="12143"/>
                </a:lnTo>
                <a:lnTo>
                  <a:pt x="60463" y="9193"/>
                </a:lnTo>
                <a:close/>
              </a:path>
              <a:path w="60959" h="153034">
                <a:moveTo>
                  <a:pt x="60223" y="1384"/>
                </a:moveTo>
                <a:lnTo>
                  <a:pt x="60360" y="5844"/>
                </a:lnTo>
                <a:lnTo>
                  <a:pt x="60223" y="1384"/>
                </a:lnTo>
                <a:close/>
              </a:path>
              <a:path w="60959" h="153034">
                <a:moveTo>
                  <a:pt x="60210" y="1384"/>
                </a:moveTo>
                <a:close/>
              </a:path>
              <a:path w="60959" h="153034">
                <a:moveTo>
                  <a:pt x="58496" y="0"/>
                </a:moveTo>
                <a:lnTo>
                  <a:pt x="58915" y="622"/>
                </a:lnTo>
                <a:lnTo>
                  <a:pt x="59499" y="1168"/>
                </a:lnTo>
                <a:lnTo>
                  <a:pt x="60171" y="1384"/>
                </a:lnTo>
                <a:lnTo>
                  <a:pt x="59512" y="1155"/>
                </a:lnTo>
                <a:lnTo>
                  <a:pt x="58915" y="609"/>
                </a:lnTo>
                <a:lnTo>
                  <a:pt x="584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8" name="bk object 288"/>
          <p:cNvSpPr/>
          <p:nvPr/>
        </p:nvSpPr>
        <p:spPr>
          <a:xfrm>
            <a:off x="5418686" y="5894850"/>
            <a:ext cx="121402" cy="47218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9" name="bk object 289"/>
          <p:cNvSpPr/>
          <p:nvPr/>
        </p:nvSpPr>
        <p:spPr>
          <a:xfrm>
            <a:off x="5465791" y="5927450"/>
            <a:ext cx="4243" cy="1210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0" name="bk object 290"/>
          <p:cNvSpPr/>
          <p:nvPr/>
        </p:nvSpPr>
        <p:spPr>
          <a:xfrm>
            <a:off x="5466688" y="593700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2364" y="3009"/>
                </a:moveTo>
                <a:lnTo>
                  <a:pt x="647" y="3009"/>
                </a:lnTo>
                <a:lnTo>
                  <a:pt x="1689" y="3098"/>
                </a:lnTo>
                <a:lnTo>
                  <a:pt x="2298" y="3505"/>
                </a:lnTo>
                <a:lnTo>
                  <a:pt x="2364" y="3009"/>
                </a:lnTo>
                <a:close/>
              </a:path>
              <a:path w="3175" h="3809">
                <a:moveTo>
                  <a:pt x="1511" y="0"/>
                </a:moveTo>
                <a:lnTo>
                  <a:pt x="1270" y="711"/>
                </a:lnTo>
                <a:lnTo>
                  <a:pt x="774" y="1943"/>
                </a:lnTo>
                <a:lnTo>
                  <a:pt x="0" y="2362"/>
                </a:lnTo>
                <a:lnTo>
                  <a:pt x="749" y="3187"/>
                </a:lnTo>
                <a:lnTo>
                  <a:pt x="647" y="3009"/>
                </a:lnTo>
                <a:lnTo>
                  <a:pt x="2364" y="3009"/>
                </a:lnTo>
                <a:lnTo>
                  <a:pt x="2540" y="1676"/>
                </a:lnTo>
                <a:lnTo>
                  <a:pt x="2641" y="1371"/>
                </a:lnTo>
                <a:lnTo>
                  <a:pt x="2781" y="495"/>
                </a:lnTo>
                <a:lnTo>
                  <a:pt x="151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1" name="bk object 291"/>
          <p:cNvSpPr/>
          <p:nvPr/>
        </p:nvSpPr>
        <p:spPr>
          <a:xfrm>
            <a:off x="5466727" y="5936959"/>
            <a:ext cx="2201" cy="237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2" name="bk object 292"/>
          <p:cNvSpPr/>
          <p:nvPr/>
        </p:nvSpPr>
        <p:spPr>
          <a:xfrm>
            <a:off x="5466897" y="5935807"/>
            <a:ext cx="1992" cy="2598"/>
          </a:xfrm>
          <a:custGeom>
            <a:avLst/>
            <a:gdLst/>
            <a:ahLst/>
            <a:cxnLst/>
            <a:rect l="l" t="t" r="r" b="b"/>
            <a:pathLst>
              <a:path w="2540" h="3809">
                <a:moveTo>
                  <a:pt x="2387" y="3428"/>
                </a:moveTo>
                <a:lnTo>
                  <a:pt x="1727" y="3428"/>
                </a:lnTo>
                <a:lnTo>
                  <a:pt x="2374" y="3759"/>
                </a:lnTo>
                <a:lnTo>
                  <a:pt x="2387" y="3428"/>
                </a:lnTo>
                <a:close/>
              </a:path>
              <a:path w="2540" h="3809">
                <a:moveTo>
                  <a:pt x="1206" y="0"/>
                </a:moveTo>
                <a:lnTo>
                  <a:pt x="698" y="2311"/>
                </a:lnTo>
                <a:lnTo>
                  <a:pt x="0" y="2908"/>
                </a:lnTo>
                <a:lnTo>
                  <a:pt x="838" y="3708"/>
                </a:lnTo>
                <a:lnTo>
                  <a:pt x="698" y="3530"/>
                </a:lnTo>
                <a:lnTo>
                  <a:pt x="1219" y="3492"/>
                </a:lnTo>
                <a:lnTo>
                  <a:pt x="1727" y="3428"/>
                </a:lnTo>
                <a:lnTo>
                  <a:pt x="2387" y="3428"/>
                </a:lnTo>
                <a:lnTo>
                  <a:pt x="2501" y="342"/>
                </a:lnTo>
                <a:lnTo>
                  <a:pt x="1206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3" name="bk object 293"/>
          <p:cNvSpPr/>
          <p:nvPr/>
        </p:nvSpPr>
        <p:spPr>
          <a:xfrm>
            <a:off x="5466907" y="5935703"/>
            <a:ext cx="1992" cy="2580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4" name="bk object 294"/>
          <p:cNvSpPr/>
          <p:nvPr/>
        </p:nvSpPr>
        <p:spPr>
          <a:xfrm>
            <a:off x="5466897" y="593491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49"/>
                </a:lnTo>
                <a:lnTo>
                  <a:pt x="0" y="3035"/>
                </a:lnTo>
                <a:lnTo>
                  <a:pt x="1028" y="3708"/>
                </a:lnTo>
                <a:lnTo>
                  <a:pt x="850" y="3555"/>
                </a:lnTo>
                <a:lnTo>
                  <a:pt x="1422" y="3441"/>
                </a:lnTo>
                <a:lnTo>
                  <a:pt x="1981" y="3301"/>
                </a:lnTo>
                <a:lnTo>
                  <a:pt x="2697" y="3301"/>
                </a:lnTo>
                <a:lnTo>
                  <a:pt x="2575" y="2349"/>
                </a:lnTo>
                <a:lnTo>
                  <a:pt x="2463" y="1142"/>
                </a:lnTo>
                <a:lnTo>
                  <a:pt x="2374" y="749"/>
                </a:lnTo>
                <a:lnTo>
                  <a:pt x="2324" y="152"/>
                </a:lnTo>
                <a:lnTo>
                  <a:pt x="850" y="0"/>
                </a:lnTo>
                <a:close/>
              </a:path>
              <a:path w="3175" h="3809">
                <a:moveTo>
                  <a:pt x="2697" y="3301"/>
                </a:moveTo>
                <a:lnTo>
                  <a:pt x="1981" y="3301"/>
                </a:lnTo>
                <a:lnTo>
                  <a:pt x="2730" y="3555"/>
                </a:lnTo>
                <a:lnTo>
                  <a:pt x="2697" y="3301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5" name="bk object 295"/>
          <p:cNvSpPr/>
          <p:nvPr/>
        </p:nvSpPr>
        <p:spPr>
          <a:xfrm>
            <a:off x="5466897" y="5934750"/>
            <a:ext cx="2151" cy="265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6" name="bk object 296"/>
          <p:cNvSpPr/>
          <p:nvPr/>
        </p:nvSpPr>
        <p:spPr>
          <a:xfrm>
            <a:off x="5466917" y="593377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89" y="0"/>
                </a:moveTo>
                <a:lnTo>
                  <a:pt x="673" y="2349"/>
                </a:lnTo>
                <a:lnTo>
                  <a:pt x="0" y="3035"/>
                </a:lnTo>
                <a:lnTo>
                  <a:pt x="1066" y="3721"/>
                </a:lnTo>
                <a:lnTo>
                  <a:pt x="889" y="3543"/>
                </a:lnTo>
                <a:lnTo>
                  <a:pt x="2006" y="3327"/>
                </a:lnTo>
                <a:lnTo>
                  <a:pt x="2740" y="3327"/>
                </a:lnTo>
                <a:lnTo>
                  <a:pt x="2614" y="2349"/>
                </a:lnTo>
                <a:lnTo>
                  <a:pt x="2489" y="1143"/>
                </a:lnTo>
                <a:lnTo>
                  <a:pt x="2413" y="749"/>
                </a:lnTo>
                <a:lnTo>
                  <a:pt x="2349" y="139"/>
                </a:lnTo>
                <a:lnTo>
                  <a:pt x="889" y="0"/>
                </a:lnTo>
                <a:close/>
              </a:path>
              <a:path w="3175" h="3809">
                <a:moveTo>
                  <a:pt x="2740" y="3327"/>
                </a:moveTo>
                <a:lnTo>
                  <a:pt x="2006" y="3327"/>
                </a:lnTo>
                <a:lnTo>
                  <a:pt x="2768" y="3556"/>
                </a:lnTo>
                <a:lnTo>
                  <a:pt x="2740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7" name="bk object 297"/>
          <p:cNvSpPr/>
          <p:nvPr/>
        </p:nvSpPr>
        <p:spPr>
          <a:xfrm>
            <a:off x="5466907" y="5933606"/>
            <a:ext cx="2181" cy="2650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8" name="bk object 298"/>
          <p:cNvSpPr/>
          <p:nvPr/>
        </p:nvSpPr>
        <p:spPr>
          <a:xfrm>
            <a:off x="5466997" y="593280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772" y="1142"/>
                </a:lnTo>
                <a:lnTo>
                  <a:pt x="660" y="2349"/>
                </a:lnTo>
                <a:lnTo>
                  <a:pt x="0" y="3047"/>
                </a:lnTo>
                <a:lnTo>
                  <a:pt x="1028" y="3721"/>
                </a:lnTo>
                <a:lnTo>
                  <a:pt x="850" y="3555"/>
                </a:lnTo>
                <a:lnTo>
                  <a:pt x="1968" y="3327"/>
                </a:lnTo>
                <a:lnTo>
                  <a:pt x="2675" y="3327"/>
                </a:lnTo>
                <a:lnTo>
                  <a:pt x="2548" y="2349"/>
                </a:lnTo>
                <a:lnTo>
                  <a:pt x="2438" y="1142"/>
                </a:lnTo>
                <a:lnTo>
                  <a:pt x="2311" y="165"/>
                </a:lnTo>
                <a:lnTo>
                  <a:pt x="850" y="0"/>
                </a:lnTo>
                <a:close/>
              </a:path>
              <a:path w="3175" h="3809">
                <a:moveTo>
                  <a:pt x="2675" y="3327"/>
                </a:moveTo>
                <a:lnTo>
                  <a:pt x="1968" y="3327"/>
                </a:lnTo>
                <a:lnTo>
                  <a:pt x="2705" y="3555"/>
                </a:lnTo>
                <a:lnTo>
                  <a:pt x="2675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9" name="bk object 299"/>
          <p:cNvSpPr/>
          <p:nvPr/>
        </p:nvSpPr>
        <p:spPr>
          <a:xfrm>
            <a:off x="5466996" y="5932637"/>
            <a:ext cx="2131" cy="2641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0" name="bk object 300"/>
          <p:cNvSpPr/>
          <p:nvPr/>
        </p:nvSpPr>
        <p:spPr>
          <a:xfrm>
            <a:off x="5466937" y="5931858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92" y="1485"/>
                </a:lnTo>
                <a:lnTo>
                  <a:pt x="698" y="2336"/>
                </a:lnTo>
                <a:lnTo>
                  <a:pt x="0" y="3009"/>
                </a:lnTo>
                <a:lnTo>
                  <a:pt x="1092" y="3695"/>
                </a:lnTo>
                <a:lnTo>
                  <a:pt x="901" y="3530"/>
                </a:lnTo>
                <a:lnTo>
                  <a:pt x="1498" y="3429"/>
                </a:lnTo>
                <a:lnTo>
                  <a:pt x="2057" y="3302"/>
                </a:lnTo>
                <a:lnTo>
                  <a:pt x="2823" y="3302"/>
                </a:lnTo>
                <a:lnTo>
                  <a:pt x="2686" y="2336"/>
                </a:lnTo>
                <a:lnTo>
                  <a:pt x="2565" y="1143"/>
                </a:lnTo>
                <a:lnTo>
                  <a:pt x="2489" y="736"/>
                </a:lnTo>
                <a:lnTo>
                  <a:pt x="2413" y="139"/>
                </a:lnTo>
                <a:lnTo>
                  <a:pt x="914" y="0"/>
                </a:lnTo>
                <a:close/>
              </a:path>
              <a:path w="3175" h="3809">
                <a:moveTo>
                  <a:pt x="2823" y="3302"/>
                </a:moveTo>
                <a:lnTo>
                  <a:pt x="2057" y="3302"/>
                </a:lnTo>
                <a:lnTo>
                  <a:pt x="2857" y="3543"/>
                </a:lnTo>
                <a:lnTo>
                  <a:pt x="2823" y="3302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1" name="bk object 301"/>
          <p:cNvSpPr/>
          <p:nvPr/>
        </p:nvSpPr>
        <p:spPr>
          <a:xfrm>
            <a:off x="5466937" y="5931685"/>
            <a:ext cx="17720" cy="14408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2" name="bk object 302"/>
          <p:cNvSpPr/>
          <p:nvPr/>
        </p:nvSpPr>
        <p:spPr>
          <a:xfrm>
            <a:off x="5466897" y="593088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23" y="2349"/>
                </a:lnTo>
                <a:lnTo>
                  <a:pt x="0" y="3035"/>
                </a:lnTo>
                <a:lnTo>
                  <a:pt x="1104" y="3721"/>
                </a:lnTo>
                <a:lnTo>
                  <a:pt x="914" y="3543"/>
                </a:lnTo>
                <a:lnTo>
                  <a:pt x="2095" y="3327"/>
                </a:lnTo>
                <a:lnTo>
                  <a:pt x="2848" y="3327"/>
                </a:lnTo>
                <a:lnTo>
                  <a:pt x="2710" y="2349"/>
                </a:lnTo>
                <a:lnTo>
                  <a:pt x="2590" y="1142"/>
                </a:lnTo>
                <a:lnTo>
                  <a:pt x="2514" y="749"/>
                </a:lnTo>
                <a:lnTo>
                  <a:pt x="2438" y="152"/>
                </a:lnTo>
                <a:lnTo>
                  <a:pt x="914" y="0"/>
                </a:lnTo>
                <a:close/>
              </a:path>
              <a:path w="3175" h="3809">
                <a:moveTo>
                  <a:pt x="2848" y="3327"/>
                </a:moveTo>
                <a:lnTo>
                  <a:pt x="2095" y="3327"/>
                </a:lnTo>
                <a:lnTo>
                  <a:pt x="2882" y="3568"/>
                </a:lnTo>
                <a:lnTo>
                  <a:pt x="2848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3" name="bk object 303"/>
          <p:cNvSpPr/>
          <p:nvPr/>
        </p:nvSpPr>
        <p:spPr>
          <a:xfrm>
            <a:off x="5466897" y="5930715"/>
            <a:ext cx="2260" cy="264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4" name="bk object 304"/>
          <p:cNvSpPr/>
          <p:nvPr/>
        </p:nvSpPr>
        <p:spPr>
          <a:xfrm>
            <a:off x="5466738" y="592988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19" y="0"/>
                </a:moveTo>
                <a:lnTo>
                  <a:pt x="1117" y="850"/>
                </a:lnTo>
                <a:lnTo>
                  <a:pt x="838" y="2336"/>
                </a:lnTo>
                <a:lnTo>
                  <a:pt x="0" y="2946"/>
                </a:lnTo>
                <a:lnTo>
                  <a:pt x="1155" y="3721"/>
                </a:lnTo>
                <a:lnTo>
                  <a:pt x="965" y="3543"/>
                </a:lnTo>
                <a:lnTo>
                  <a:pt x="2273" y="3403"/>
                </a:lnTo>
                <a:lnTo>
                  <a:pt x="3124" y="3403"/>
                </a:lnTo>
                <a:lnTo>
                  <a:pt x="3032" y="2336"/>
                </a:lnTo>
                <a:lnTo>
                  <a:pt x="2920" y="279"/>
                </a:lnTo>
                <a:lnTo>
                  <a:pt x="1219" y="0"/>
                </a:lnTo>
                <a:close/>
              </a:path>
              <a:path w="3175" h="3809">
                <a:moveTo>
                  <a:pt x="3124" y="3403"/>
                </a:moveTo>
                <a:lnTo>
                  <a:pt x="2273" y="3403"/>
                </a:lnTo>
                <a:lnTo>
                  <a:pt x="3149" y="3695"/>
                </a:lnTo>
                <a:lnTo>
                  <a:pt x="3124" y="3403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5" name="bk object 305"/>
          <p:cNvSpPr/>
          <p:nvPr/>
        </p:nvSpPr>
        <p:spPr>
          <a:xfrm>
            <a:off x="5466738" y="5929763"/>
            <a:ext cx="2440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6" name="bk object 306"/>
          <p:cNvSpPr/>
          <p:nvPr/>
        </p:nvSpPr>
        <p:spPr>
          <a:xfrm>
            <a:off x="5466797" y="592892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25" y="2324"/>
                </a:lnTo>
                <a:lnTo>
                  <a:pt x="0" y="2946"/>
                </a:lnTo>
                <a:lnTo>
                  <a:pt x="1142" y="3721"/>
                </a:lnTo>
                <a:lnTo>
                  <a:pt x="965" y="3530"/>
                </a:lnTo>
                <a:lnTo>
                  <a:pt x="2273" y="3390"/>
                </a:lnTo>
                <a:lnTo>
                  <a:pt x="3120" y="3390"/>
                </a:lnTo>
                <a:lnTo>
                  <a:pt x="3022" y="2324"/>
                </a:lnTo>
                <a:lnTo>
                  <a:pt x="2920" y="266"/>
                </a:lnTo>
                <a:lnTo>
                  <a:pt x="1231" y="0"/>
                </a:lnTo>
                <a:close/>
              </a:path>
              <a:path w="3175" h="3809">
                <a:moveTo>
                  <a:pt x="3120" y="3390"/>
                </a:moveTo>
                <a:lnTo>
                  <a:pt x="2273" y="3390"/>
                </a:lnTo>
                <a:lnTo>
                  <a:pt x="3149" y="3708"/>
                </a:lnTo>
                <a:lnTo>
                  <a:pt x="3120" y="339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7" name="bk object 307"/>
          <p:cNvSpPr/>
          <p:nvPr/>
        </p:nvSpPr>
        <p:spPr>
          <a:xfrm>
            <a:off x="5466817" y="5928793"/>
            <a:ext cx="2440" cy="260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8" name="bk object 308"/>
          <p:cNvSpPr/>
          <p:nvPr/>
        </p:nvSpPr>
        <p:spPr>
          <a:xfrm>
            <a:off x="5466927" y="592794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19" y="0"/>
                </a:moveTo>
                <a:lnTo>
                  <a:pt x="812" y="2336"/>
                </a:lnTo>
                <a:lnTo>
                  <a:pt x="0" y="2933"/>
                </a:lnTo>
                <a:lnTo>
                  <a:pt x="1066" y="3733"/>
                </a:lnTo>
                <a:lnTo>
                  <a:pt x="914" y="3543"/>
                </a:lnTo>
                <a:lnTo>
                  <a:pt x="2120" y="3416"/>
                </a:lnTo>
                <a:lnTo>
                  <a:pt x="2916" y="3416"/>
                </a:lnTo>
                <a:lnTo>
                  <a:pt x="2794" y="292"/>
                </a:lnTo>
                <a:lnTo>
                  <a:pt x="1219" y="0"/>
                </a:lnTo>
                <a:close/>
              </a:path>
              <a:path w="3175" h="3809">
                <a:moveTo>
                  <a:pt x="2916" y="3416"/>
                </a:moveTo>
                <a:lnTo>
                  <a:pt x="2120" y="3416"/>
                </a:lnTo>
                <a:lnTo>
                  <a:pt x="2933" y="3733"/>
                </a:lnTo>
                <a:lnTo>
                  <a:pt x="2916" y="3416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9" name="bk object 309"/>
          <p:cNvSpPr/>
          <p:nvPr/>
        </p:nvSpPr>
        <p:spPr>
          <a:xfrm>
            <a:off x="5466966" y="5927831"/>
            <a:ext cx="2260" cy="259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0" name="bk object 310"/>
          <p:cNvSpPr/>
          <p:nvPr/>
        </p:nvSpPr>
        <p:spPr>
          <a:xfrm>
            <a:off x="5466907" y="592700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117" y="0"/>
                </a:moveTo>
                <a:lnTo>
                  <a:pt x="787" y="2324"/>
                </a:lnTo>
                <a:lnTo>
                  <a:pt x="0" y="2971"/>
                </a:lnTo>
                <a:lnTo>
                  <a:pt x="1117" y="3721"/>
                </a:lnTo>
                <a:lnTo>
                  <a:pt x="939" y="3543"/>
                </a:lnTo>
                <a:lnTo>
                  <a:pt x="2184" y="3365"/>
                </a:lnTo>
                <a:lnTo>
                  <a:pt x="3032" y="3365"/>
                </a:lnTo>
                <a:lnTo>
                  <a:pt x="2923" y="2324"/>
                </a:lnTo>
                <a:lnTo>
                  <a:pt x="2844" y="1231"/>
                </a:lnTo>
                <a:lnTo>
                  <a:pt x="2743" y="215"/>
                </a:lnTo>
                <a:lnTo>
                  <a:pt x="1117" y="0"/>
                </a:lnTo>
                <a:close/>
              </a:path>
              <a:path w="3175" h="3809">
                <a:moveTo>
                  <a:pt x="3032" y="3365"/>
                </a:moveTo>
                <a:lnTo>
                  <a:pt x="2184" y="3365"/>
                </a:lnTo>
                <a:lnTo>
                  <a:pt x="3060" y="3657"/>
                </a:lnTo>
                <a:lnTo>
                  <a:pt x="3032" y="3365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1" name="bk object 311"/>
          <p:cNvSpPr/>
          <p:nvPr/>
        </p:nvSpPr>
        <p:spPr>
          <a:xfrm>
            <a:off x="5466907" y="5926862"/>
            <a:ext cx="2400" cy="2615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2" name="bk object 312"/>
          <p:cNvSpPr/>
          <p:nvPr/>
        </p:nvSpPr>
        <p:spPr>
          <a:xfrm>
            <a:off x="5466927" y="592691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903" y="2184"/>
                </a:moveTo>
                <a:lnTo>
                  <a:pt x="889" y="2184"/>
                </a:lnTo>
                <a:lnTo>
                  <a:pt x="2108" y="2222"/>
                </a:lnTo>
                <a:lnTo>
                  <a:pt x="2933" y="2501"/>
                </a:lnTo>
                <a:lnTo>
                  <a:pt x="2903" y="2184"/>
                </a:lnTo>
                <a:close/>
              </a:path>
              <a:path w="3175" h="2540">
                <a:moveTo>
                  <a:pt x="1219" y="0"/>
                </a:moveTo>
                <a:lnTo>
                  <a:pt x="812" y="1422"/>
                </a:lnTo>
                <a:lnTo>
                  <a:pt x="0" y="1739"/>
                </a:lnTo>
                <a:lnTo>
                  <a:pt x="1066" y="2324"/>
                </a:lnTo>
                <a:lnTo>
                  <a:pt x="889" y="2184"/>
                </a:lnTo>
                <a:lnTo>
                  <a:pt x="2903" y="2184"/>
                </a:lnTo>
                <a:lnTo>
                  <a:pt x="2794" y="330"/>
                </a:lnTo>
                <a:lnTo>
                  <a:pt x="1219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3" name="bk object 313"/>
          <p:cNvSpPr/>
          <p:nvPr/>
        </p:nvSpPr>
        <p:spPr>
          <a:xfrm>
            <a:off x="5466966" y="5926879"/>
            <a:ext cx="2260" cy="168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4" name="bk object 314"/>
          <p:cNvSpPr/>
          <p:nvPr/>
        </p:nvSpPr>
        <p:spPr>
          <a:xfrm>
            <a:off x="5387330" y="5875098"/>
            <a:ext cx="92147" cy="4996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5" name="bk object 315"/>
          <p:cNvSpPr/>
          <p:nvPr/>
        </p:nvSpPr>
        <p:spPr>
          <a:xfrm>
            <a:off x="5481838" y="5875098"/>
            <a:ext cx="87216" cy="50023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6" name="bk object 316"/>
          <p:cNvSpPr/>
          <p:nvPr/>
        </p:nvSpPr>
        <p:spPr>
          <a:xfrm>
            <a:off x="5474208" y="5942422"/>
            <a:ext cx="10459" cy="1732"/>
          </a:xfrm>
          <a:custGeom>
            <a:avLst/>
            <a:gdLst/>
            <a:ahLst/>
            <a:cxnLst/>
            <a:rect l="l" t="t" r="r" b="b"/>
            <a:pathLst>
              <a:path w="13334" h="2540">
                <a:moveTo>
                  <a:pt x="4539" y="114"/>
                </a:moveTo>
                <a:lnTo>
                  <a:pt x="6096" y="2197"/>
                </a:lnTo>
                <a:lnTo>
                  <a:pt x="6146" y="2057"/>
                </a:lnTo>
                <a:lnTo>
                  <a:pt x="4539" y="114"/>
                </a:lnTo>
                <a:close/>
              </a:path>
              <a:path w="13334" h="2540">
                <a:moveTo>
                  <a:pt x="3505" y="2082"/>
                </a:moveTo>
                <a:lnTo>
                  <a:pt x="3319" y="2082"/>
                </a:lnTo>
                <a:lnTo>
                  <a:pt x="3467" y="2158"/>
                </a:lnTo>
                <a:close/>
              </a:path>
              <a:path w="13334" h="2540">
                <a:moveTo>
                  <a:pt x="12877" y="1714"/>
                </a:moveTo>
                <a:lnTo>
                  <a:pt x="9722" y="2044"/>
                </a:lnTo>
                <a:lnTo>
                  <a:pt x="9588" y="2146"/>
                </a:lnTo>
                <a:lnTo>
                  <a:pt x="12877" y="1714"/>
                </a:lnTo>
                <a:close/>
              </a:path>
              <a:path w="13334" h="2540">
                <a:moveTo>
                  <a:pt x="0" y="368"/>
                </a:moveTo>
                <a:lnTo>
                  <a:pt x="3319" y="2082"/>
                </a:lnTo>
                <a:lnTo>
                  <a:pt x="2311" y="1485"/>
                </a:lnTo>
                <a:lnTo>
                  <a:pt x="0" y="368"/>
                </a:lnTo>
                <a:close/>
              </a:path>
              <a:path w="13334" h="2540">
                <a:moveTo>
                  <a:pt x="4445" y="0"/>
                </a:moveTo>
                <a:lnTo>
                  <a:pt x="3416" y="2082"/>
                </a:lnTo>
                <a:lnTo>
                  <a:pt x="4368" y="368"/>
                </a:lnTo>
                <a:lnTo>
                  <a:pt x="4419" y="126"/>
                </a:lnTo>
                <a:lnTo>
                  <a:pt x="4445" y="0"/>
                </a:lnTo>
                <a:close/>
              </a:path>
              <a:path w="13334" h="2540">
                <a:moveTo>
                  <a:pt x="8482" y="126"/>
                </a:moveTo>
                <a:lnTo>
                  <a:pt x="8343" y="126"/>
                </a:lnTo>
                <a:lnTo>
                  <a:pt x="8492" y="368"/>
                </a:lnTo>
                <a:lnTo>
                  <a:pt x="9549" y="2082"/>
                </a:lnTo>
                <a:lnTo>
                  <a:pt x="8482" y="126"/>
                </a:lnTo>
                <a:close/>
              </a:path>
              <a:path w="13334" h="2540">
                <a:moveTo>
                  <a:pt x="8407" y="0"/>
                </a:moveTo>
                <a:lnTo>
                  <a:pt x="8221" y="180"/>
                </a:lnTo>
                <a:lnTo>
                  <a:pt x="6108" y="2011"/>
                </a:lnTo>
                <a:lnTo>
                  <a:pt x="6253" y="2057"/>
                </a:lnTo>
                <a:lnTo>
                  <a:pt x="8374" y="180"/>
                </a:lnTo>
                <a:lnTo>
                  <a:pt x="8407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7" name="bk object 317"/>
          <p:cNvSpPr/>
          <p:nvPr/>
        </p:nvSpPr>
        <p:spPr>
          <a:xfrm>
            <a:off x="5474208" y="5942665"/>
            <a:ext cx="10459" cy="3897"/>
          </a:xfrm>
          <a:custGeom>
            <a:avLst/>
            <a:gdLst/>
            <a:ahLst/>
            <a:cxnLst/>
            <a:rect l="l" t="t" r="r" b="b"/>
            <a:pathLst>
              <a:path w="13334" h="5715">
                <a:moveTo>
                  <a:pt x="0" y="0"/>
                </a:moveTo>
                <a:lnTo>
                  <a:pt x="1612" y="4610"/>
                </a:lnTo>
                <a:lnTo>
                  <a:pt x="6720" y="4927"/>
                </a:lnTo>
                <a:lnTo>
                  <a:pt x="10350" y="5118"/>
                </a:lnTo>
                <a:lnTo>
                  <a:pt x="10472" y="4965"/>
                </a:lnTo>
                <a:lnTo>
                  <a:pt x="10236" y="4965"/>
                </a:lnTo>
                <a:lnTo>
                  <a:pt x="6019" y="4635"/>
                </a:lnTo>
                <a:lnTo>
                  <a:pt x="2901" y="4470"/>
                </a:lnTo>
                <a:lnTo>
                  <a:pt x="1790" y="4470"/>
                </a:lnTo>
                <a:lnTo>
                  <a:pt x="0" y="0"/>
                </a:lnTo>
                <a:close/>
              </a:path>
              <a:path w="13334" h="5715">
                <a:moveTo>
                  <a:pt x="13169" y="1346"/>
                </a:moveTo>
                <a:lnTo>
                  <a:pt x="12967" y="1701"/>
                </a:lnTo>
                <a:lnTo>
                  <a:pt x="12686" y="2006"/>
                </a:lnTo>
                <a:lnTo>
                  <a:pt x="12496" y="2285"/>
                </a:lnTo>
                <a:lnTo>
                  <a:pt x="10236" y="4965"/>
                </a:lnTo>
                <a:lnTo>
                  <a:pt x="10472" y="4965"/>
                </a:lnTo>
                <a:lnTo>
                  <a:pt x="11849" y="3251"/>
                </a:lnTo>
                <a:lnTo>
                  <a:pt x="12795" y="1968"/>
                </a:lnTo>
                <a:lnTo>
                  <a:pt x="13017" y="1701"/>
                </a:lnTo>
                <a:lnTo>
                  <a:pt x="13169" y="1346"/>
                </a:lnTo>
                <a:close/>
              </a:path>
              <a:path w="13334" h="5715">
                <a:moveTo>
                  <a:pt x="1767" y="4410"/>
                </a:moveTo>
                <a:lnTo>
                  <a:pt x="2901" y="4470"/>
                </a:lnTo>
                <a:lnTo>
                  <a:pt x="1767" y="4410"/>
                </a:lnTo>
                <a:close/>
              </a:path>
              <a:path w="13334" h="5715">
                <a:moveTo>
                  <a:pt x="1765" y="4406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8" name="bk object 318"/>
          <p:cNvSpPr/>
          <p:nvPr/>
        </p:nvSpPr>
        <p:spPr>
          <a:xfrm>
            <a:off x="5476240" y="5954753"/>
            <a:ext cx="5717" cy="13231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9" name="bk object 319"/>
          <p:cNvSpPr/>
          <p:nvPr/>
        </p:nvSpPr>
        <p:spPr>
          <a:xfrm>
            <a:off x="5476241" y="5955185"/>
            <a:ext cx="4482" cy="12989"/>
          </a:xfrm>
          <a:custGeom>
            <a:avLst/>
            <a:gdLst/>
            <a:ahLst/>
            <a:cxnLst/>
            <a:rect l="l" t="t" r="r" b="b"/>
            <a:pathLst>
              <a:path w="5715" h="19050">
                <a:moveTo>
                  <a:pt x="0" y="0"/>
                </a:moveTo>
                <a:lnTo>
                  <a:pt x="3301" y="11061"/>
                </a:lnTo>
                <a:lnTo>
                  <a:pt x="3135" y="14008"/>
                </a:lnTo>
                <a:lnTo>
                  <a:pt x="2743" y="16967"/>
                </a:lnTo>
                <a:lnTo>
                  <a:pt x="3619" y="17729"/>
                </a:lnTo>
                <a:lnTo>
                  <a:pt x="5549" y="18770"/>
                </a:lnTo>
                <a:lnTo>
                  <a:pt x="3670" y="17627"/>
                </a:lnTo>
                <a:lnTo>
                  <a:pt x="2964" y="16967"/>
                </a:lnTo>
                <a:lnTo>
                  <a:pt x="3149" y="15481"/>
                </a:lnTo>
                <a:lnTo>
                  <a:pt x="3302" y="13995"/>
                </a:lnTo>
                <a:lnTo>
                  <a:pt x="3441" y="11061"/>
                </a:lnTo>
                <a:lnTo>
                  <a:pt x="3429" y="9563"/>
                </a:lnTo>
                <a:lnTo>
                  <a:pt x="3263" y="8102"/>
                </a:lnTo>
                <a:lnTo>
                  <a:pt x="3124" y="6616"/>
                </a:lnTo>
                <a:lnTo>
                  <a:pt x="2844" y="5156"/>
                </a:lnTo>
                <a:lnTo>
                  <a:pt x="2311" y="3746"/>
                </a:lnTo>
                <a:lnTo>
                  <a:pt x="1816" y="2362"/>
                </a:lnTo>
                <a:lnTo>
                  <a:pt x="1130" y="990"/>
                </a:lnTo>
                <a:lnTo>
                  <a:pt x="0" y="0"/>
                </a:lnTo>
                <a:close/>
              </a:path>
              <a:path w="5715" h="19050">
                <a:moveTo>
                  <a:pt x="2912" y="16918"/>
                </a:moveTo>
                <a:close/>
              </a:path>
              <a:path w="5715" h="19050">
                <a:moveTo>
                  <a:pt x="2916" y="16890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0" name="bk object 320"/>
          <p:cNvSpPr/>
          <p:nvPr/>
        </p:nvSpPr>
        <p:spPr>
          <a:xfrm>
            <a:off x="5476240" y="5954735"/>
            <a:ext cx="4980" cy="13422"/>
          </a:xfrm>
          <a:custGeom>
            <a:avLst/>
            <a:gdLst/>
            <a:ahLst/>
            <a:cxnLst/>
            <a:rect l="l" t="t" r="r" b="b"/>
            <a:pathLst>
              <a:path w="6350" h="19684">
                <a:moveTo>
                  <a:pt x="1014" y="25"/>
                </a:moveTo>
                <a:lnTo>
                  <a:pt x="1206" y="114"/>
                </a:lnTo>
                <a:lnTo>
                  <a:pt x="5778" y="12725"/>
                </a:lnTo>
                <a:lnTo>
                  <a:pt x="5638" y="16078"/>
                </a:lnTo>
                <a:lnTo>
                  <a:pt x="5549" y="19443"/>
                </a:lnTo>
                <a:lnTo>
                  <a:pt x="5575" y="17754"/>
                </a:lnTo>
                <a:lnTo>
                  <a:pt x="5715" y="16078"/>
                </a:lnTo>
                <a:lnTo>
                  <a:pt x="5880" y="12725"/>
                </a:lnTo>
                <a:lnTo>
                  <a:pt x="5892" y="11010"/>
                </a:lnTo>
                <a:lnTo>
                  <a:pt x="5651" y="9347"/>
                </a:lnTo>
                <a:lnTo>
                  <a:pt x="5435" y="7670"/>
                </a:lnTo>
                <a:lnTo>
                  <a:pt x="1231" y="88"/>
                </a:lnTo>
                <a:lnTo>
                  <a:pt x="1014" y="25"/>
                </a:lnTo>
                <a:close/>
              </a:path>
              <a:path w="6350" h="19684">
                <a:moveTo>
                  <a:pt x="927" y="0"/>
                </a:moveTo>
                <a:lnTo>
                  <a:pt x="764" y="25"/>
                </a:lnTo>
                <a:lnTo>
                  <a:pt x="368" y="190"/>
                </a:lnTo>
                <a:lnTo>
                  <a:pt x="165" y="431"/>
                </a:lnTo>
                <a:lnTo>
                  <a:pt x="0" y="673"/>
                </a:lnTo>
                <a:lnTo>
                  <a:pt x="298" y="292"/>
                </a:lnTo>
                <a:lnTo>
                  <a:pt x="787" y="38"/>
                </a:lnTo>
                <a:lnTo>
                  <a:pt x="927" y="25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1" name="bk object 321"/>
          <p:cNvSpPr/>
          <p:nvPr/>
        </p:nvSpPr>
        <p:spPr>
          <a:xfrm>
            <a:off x="5480105" y="5953792"/>
            <a:ext cx="7151" cy="7801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2" name="bk object 322"/>
          <p:cNvSpPr/>
          <p:nvPr/>
        </p:nvSpPr>
        <p:spPr>
          <a:xfrm>
            <a:off x="5480105" y="5953783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0" y="11455"/>
                </a:lnTo>
                <a:lnTo>
                  <a:pt x="419" y="10248"/>
                </a:lnTo>
                <a:lnTo>
                  <a:pt x="809" y="9004"/>
                </a:lnTo>
                <a:lnTo>
                  <a:pt x="1705" y="6603"/>
                </a:lnTo>
                <a:lnTo>
                  <a:pt x="2209" y="5460"/>
                </a:lnTo>
                <a:lnTo>
                  <a:pt x="3797" y="3492"/>
                </a:lnTo>
                <a:lnTo>
                  <a:pt x="4939" y="2641"/>
                </a:lnTo>
                <a:lnTo>
                  <a:pt x="7040" y="1244"/>
                </a:lnTo>
                <a:lnTo>
                  <a:pt x="913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3" name="bk object 323"/>
          <p:cNvSpPr/>
          <p:nvPr/>
        </p:nvSpPr>
        <p:spPr>
          <a:xfrm>
            <a:off x="5480105" y="5953792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1257" y="11023"/>
                </a:lnTo>
                <a:lnTo>
                  <a:pt x="0" y="11455"/>
                </a:lnTo>
                <a:lnTo>
                  <a:pt x="8981" y="1282"/>
                </a:lnTo>
                <a:lnTo>
                  <a:pt x="9131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4" name="bk object 324"/>
          <p:cNvSpPr/>
          <p:nvPr/>
        </p:nvSpPr>
        <p:spPr>
          <a:xfrm>
            <a:off x="5470422" y="5955896"/>
            <a:ext cx="9054" cy="7092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5" name="bk object 325"/>
          <p:cNvSpPr/>
          <p:nvPr/>
        </p:nvSpPr>
        <p:spPr>
          <a:xfrm>
            <a:off x="5470422" y="5955896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5" h="10795">
                <a:moveTo>
                  <a:pt x="0" y="0"/>
                </a:moveTo>
                <a:lnTo>
                  <a:pt x="11544" y="10388"/>
                </a:lnTo>
                <a:lnTo>
                  <a:pt x="10363" y="7950"/>
                </a:lnTo>
                <a:lnTo>
                  <a:pt x="9690" y="6781"/>
                </a:lnTo>
                <a:lnTo>
                  <a:pt x="9055" y="5600"/>
                </a:lnTo>
                <a:lnTo>
                  <a:pt x="8305" y="4432"/>
                </a:lnTo>
                <a:lnTo>
                  <a:pt x="7289" y="3505"/>
                </a:lnTo>
                <a:lnTo>
                  <a:pt x="6248" y="2616"/>
                </a:lnTo>
                <a:lnTo>
                  <a:pt x="5016" y="1968"/>
                </a:lnTo>
                <a:lnTo>
                  <a:pt x="2539" y="888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6" name="bk object 326"/>
          <p:cNvSpPr/>
          <p:nvPr/>
        </p:nvSpPr>
        <p:spPr>
          <a:xfrm>
            <a:off x="5470422" y="5955896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5" h="10795">
                <a:moveTo>
                  <a:pt x="0" y="0"/>
                </a:moveTo>
                <a:lnTo>
                  <a:pt x="10845" y="10312"/>
                </a:lnTo>
                <a:lnTo>
                  <a:pt x="11544" y="10388"/>
                </a:lnTo>
                <a:lnTo>
                  <a:pt x="10185" y="10172"/>
                </a:lnTo>
                <a:lnTo>
                  <a:pt x="8788" y="10007"/>
                </a:lnTo>
                <a:lnTo>
                  <a:pt x="7518" y="9461"/>
                </a:lnTo>
                <a:lnTo>
                  <a:pt x="6235" y="8953"/>
                </a:lnTo>
                <a:lnTo>
                  <a:pt x="5067" y="8153"/>
                </a:lnTo>
                <a:lnTo>
                  <a:pt x="4127" y="7137"/>
                </a:lnTo>
                <a:lnTo>
                  <a:pt x="3175" y="6172"/>
                </a:lnTo>
                <a:lnTo>
                  <a:pt x="2374" y="5003"/>
                </a:lnTo>
                <a:lnTo>
                  <a:pt x="1066" y="2578"/>
                </a:lnTo>
                <a:lnTo>
                  <a:pt x="495" y="1308"/>
                </a:lnTo>
                <a:lnTo>
                  <a:pt x="0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7" name="bk object 327"/>
          <p:cNvSpPr/>
          <p:nvPr/>
        </p:nvSpPr>
        <p:spPr>
          <a:xfrm>
            <a:off x="5473003" y="5943859"/>
            <a:ext cx="10020" cy="1289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8" name="bk object 328"/>
          <p:cNvSpPr/>
          <p:nvPr/>
        </p:nvSpPr>
        <p:spPr>
          <a:xfrm>
            <a:off x="5478869" y="5945878"/>
            <a:ext cx="7471" cy="10824"/>
          </a:xfrm>
          <a:custGeom>
            <a:avLst/>
            <a:gdLst/>
            <a:ahLst/>
            <a:cxnLst/>
            <a:rect l="l" t="t" r="r" b="b"/>
            <a:pathLst>
              <a:path w="9525" h="15875">
                <a:moveTo>
                  <a:pt x="8233" y="2717"/>
                </a:moveTo>
                <a:lnTo>
                  <a:pt x="8784" y="6121"/>
                </a:lnTo>
                <a:lnTo>
                  <a:pt x="8504" y="7861"/>
                </a:lnTo>
                <a:lnTo>
                  <a:pt x="7302" y="11074"/>
                </a:lnTo>
                <a:lnTo>
                  <a:pt x="0" y="15328"/>
                </a:lnTo>
                <a:lnTo>
                  <a:pt x="1739" y="15201"/>
                </a:lnTo>
                <a:lnTo>
                  <a:pt x="8902" y="6121"/>
                </a:lnTo>
                <a:lnTo>
                  <a:pt x="8877" y="5219"/>
                </a:lnTo>
                <a:lnTo>
                  <a:pt x="8534" y="3492"/>
                </a:lnTo>
                <a:lnTo>
                  <a:pt x="8233" y="2717"/>
                </a:lnTo>
                <a:close/>
              </a:path>
              <a:path w="9525" h="15875">
                <a:moveTo>
                  <a:pt x="6893" y="781"/>
                </a:moveTo>
                <a:lnTo>
                  <a:pt x="7264" y="1168"/>
                </a:lnTo>
                <a:lnTo>
                  <a:pt x="8128" y="2522"/>
                </a:lnTo>
                <a:lnTo>
                  <a:pt x="7289" y="1117"/>
                </a:lnTo>
                <a:lnTo>
                  <a:pt x="6893" y="781"/>
                </a:lnTo>
                <a:close/>
              </a:path>
              <a:path w="9525" h="15875">
                <a:moveTo>
                  <a:pt x="5969" y="0"/>
                </a:moveTo>
                <a:lnTo>
                  <a:pt x="6893" y="781"/>
                </a:lnTo>
                <a:lnTo>
                  <a:pt x="6642" y="520"/>
                </a:lnTo>
                <a:lnTo>
                  <a:pt x="5969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9" name="bk object 329"/>
          <p:cNvSpPr/>
          <p:nvPr/>
        </p:nvSpPr>
        <p:spPr>
          <a:xfrm>
            <a:off x="5478869" y="5943885"/>
            <a:ext cx="7122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0" name="bk object 330"/>
          <p:cNvSpPr/>
          <p:nvPr/>
        </p:nvSpPr>
        <p:spPr>
          <a:xfrm>
            <a:off x="5478870" y="5943885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0" y="0"/>
                </a:moveTo>
                <a:lnTo>
                  <a:pt x="4064" y="7404"/>
                </a:lnTo>
                <a:lnTo>
                  <a:pt x="3998" y="10883"/>
                </a:lnTo>
                <a:lnTo>
                  <a:pt x="0" y="18249"/>
                </a:lnTo>
                <a:lnTo>
                  <a:pt x="800" y="17881"/>
                </a:lnTo>
                <a:lnTo>
                  <a:pt x="4191" y="7404"/>
                </a:lnTo>
                <a:lnTo>
                  <a:pt x="3937" y="5626"/>
                </a:lnTo>
                <a:lnTo>
                  <a:pt x="2603" y="2400"/>
                </a:lnTo>
                <a:lnTo>
                  <a:pt x="1498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1" name="bk object 331"/>
          <p:cNvSpPr/>
          <p:nvPr/>
        </p:nvSpPr>
        <p:spPr>
          <a:xfrm>
            <a:off x="5470990" y="5944726"/>
            <a:ext cx="7471" cy="11690"/>
          </a:xfrm>
          <a:custGeom>
            <a:avLst/>
            <a:gdLst/>
            <a:ahLst/>
            <a:cxnLst/>
            <a:rect l="l" t="t" r="r" b="b"/>
            <a:pathLst>
              <a:path w="9525" h="17145">
                <a:moveTo>
                  <a:pt x="2079" y="2343"/>
                </a:moveTo>
                <a:lnTo>
                  <a:pt x="1587" y="2870"/>
                </a:lnTo>
                <a:lnTo>
                  <a:pt x="1104" y="3759"/>
                </a:lnTo>
                <a:lnTo>
                  <a:pt x="88" y="5549"/>
                </a:lnTo>
                <a:lnTo>
                  <a:pt x="0" y="7734"/>
                </a:lnTo>
                <a:lnTo>
                  <a:pt x="457" y="9690"/>
                </a:lnTo>
                <a:lnTo>
                  <a:pt x="876" y="11671"/>
                </a:lnTo>
                <a:lnTo>
                  <a:pt x="1917" y="13550"/>
                </a:lnTo>
                <a:lnTo>
                  <a:pt x="5067" y="16116"/>
                </a:lnTo>
                <a:lnTo>
                  <a:pt x="7048" y="16852"/>
                </a:lnTo>
                <a:lnTo>
                  <a:pt x="9055" y="17018"/>
                </a:lnTo>
                <a:lnTo>
                  <a:pt x="8064" y="16903"/>
                </a:lnTo>
                <a:lnTo>
                  <a:pt x="7086" y="16611"/>
                </a:lnTo>
                <a:lnTo>
                  <a:pt x="380" y="7658"/>
                </a:lnTo>
                <a:lnTo>
                  <a:pt x="546" y="5702"/>
                </a:lnTo>
                <a:lnTo>
                  <a:pt x="825" y="4724"/>
                </a:lnTo>
                <a:lnTo>
                  <a:pt x="2079" y="2343"/>
                </a:lnTo>
                <a:close/>
              </a:path>
              <a:path w="9525" h="17145">
                <a:moveTo>
                  <a:pt x="4257" y="656"/>
                </a:moveTo>
                <a:lnTo>
                  <a:pt x="3835" y="863"/>
                </a:lnTo>
                <a:lnTo>
                  <a:pt x="2203" y="2108"/>
                </a:lnTo>
                <a:lnTo>
                  <a:pt x="2079" y="2343"/>
                </a:lnTo>
                <a:lnTo>
                  <a:pt x="2314" y="2095"/>
                </a:lnTo>
                <a:lnTo>
                  <a:pt x="3073" y="1473"/>
                </a:lnTo>
                <a:lnTo>
                  <a:pt x="3954" y="825"/>
                </a:lnTo>
                <a:lnTo>
                  <a:pt x="4257" y="656"/>
                </a:lnTo>
                <a:close/>
              </a:path>
              <a:path w="9525" h="17145">
                <a:moveTo>
                  <a:pt x="5702" y="0"/>
                </a:moveTo>
                <a:lnTo>
                  <a:pt x="4775" y="368"/>
                </a:lnTo>
                <a:lnTo>
                  <a:pt x="4257" y="656"/>
                </a:lnTo>
                <a:lnTo>
                  <a:pt x="5702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2" name="bk object 332"/>
          <p:cNvSpPr/>
          <p:nvPr/>
        </p:nvSpPr>
        <p:spPr>
          <a:xfrm>
            <a:off x="5470961" y="5943885"/>
            <a:ext cx="7132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3" name="bk object 333"/>
          <p:cNvSpPr/>
          <p:nvPr/>
        </p:nvSpPr>
        <p:spPr>
          <a:xfrm>
            <a:off x="5474806" y="5943885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4191" y="0"/>
                </a:moveTo>
                <a:lnTo>
                  <a:pt x="2679" y="901"/>
                </a:lnTo>
                <a:lnTo>
                  <a:pt x="1600" y="2400"/>
                </a:lnTo>
                <a:lnTo>
                  <a:pt x="236" y="5664"/>
                </a:lnTo>
                <a:lnTo>
                  <a:pt x="0" y="7404"/>
                </a:lnTo>
                <a:lnTo>
                  <a:pt x="76" y="10883"/>
                </a:lnTo>
                <a:lnTo>
                  <a:pt x="4191" y="18249"/>
                </a:lnTo>
                <a:lnTo>
                  <a:pt x="3390" y="17881"/>
                </a:lnTo>
                <a:lnTo>
                  <a:pt x="2768" y="17233"/>
                </a:lnTo>
                <a:lnTo>
                  <a:pt x="127" y="7404"/>
                </a:lnTo>
                <a:lnTo>
                  <a:pt x="358" y="5626"/>
                </a:lnTo>
                <a:lnTo>
                  <a:pt x="1320" y="3225"/>
                </a:lnTo>
                <a:lnTo>
                  <a:pt x="1814" y="2400"/>
                </a:lnTo>
                <a:lnTo>
                  <a:pt x="2819" y="1092"/>
                </a:lnTo>
                <a:lnTo>
                  <a:pt x="3429" y="469"/>
                </a:lnTo>
                <a:lnTo>
                  <a:pt x="419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4" name="bk object 334"/>
          <p:cNvSpPr/>
          <p:nvPr/>
        </p:nvSpPr>
        <p:spPr>
          <a:xfrm>
            <a:off x="5471508" y="5943842"/>
            <a:ext cx="13945" cy="433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11135" y="127"/>
                </a:moveTo>
                <a:lnTo>
                  <a:pt x="10769" y="127"/>
                </a:lnTo>
                <a:lnTo>
                  <a:pt x="12649" y="774"/>
                </a:lnTo>
                <a:lnTo>
                  <a:pt x="15104" y="2387"/>
                </a:lnTo>
                <a:lnTo>
                  <a:pt x="15786" y="2997"/>
                </a:lnTo>
                <a:lnTo>
                  <a:pt x="17018" y="4457"/>
                </a:lnTo>
                <a:lnTo>
                  <a:pt x="17538" y="5295"/>
                </a:lnTo>
                <a:lnTo>
                  <a:pt x="17703" y="6248"/>
                </a:lnTo>
                <a:lnTo>
                  <a:pt x="17568" y="5283"/>
                </a:lnTo>
                <a:lnTo>
                  <a:pt x="16992" y="4368"/>
                </a:lnTo>
                <a:lnTo>
                  <a:pt x="15836" y="2933"/>
                </a:lnTo>
                <a:lnTo>
                  <a:pt x="15100" y="2286"/>
                </a:lnTo>
                <a:lnTo>
                  <a:pt x="12700" y="673"/>
                </a:lnTo>
                <a:lnTo>
                  <a:pt x="11135" y="127"/>
                </a:lnTo>
                <a:close/>
              </a:path>
              <a:path w="17779" h="6350">
                <a:moveTo>
                  <a:pt x="8851" y="0"/>
                </a:moveTo>
                <a:lnTo>
                  <a:pt x="0" y="6184"/>
                </a:lnTo>
                <a:lnTo>
                  <a:pt x="304" y="5283"/>
                </a:lnTo>
                <a:lnTo>
                  <a:pt x="787" y="4457"/>
                </a:lnTo>
                <a:lnTo>
                  <a:pt x="1397" y="3733"/>
                </a:lnTo>
                <a:lnTo>
                  <a:pt x="1981" y="2997"/>
                </a:lnTo>
                <a:lnTo>
                  <a:pt x="2875" y="2286"/>
                </a:lnTo>
                <a:lnTo>
                  <a:pt x="5118" y="838"/>
                </a:lnTo>
                <a:lnTo>
                  <a:pt x="6997" y="342"/>
                </a:lnTo>
                <a:lnTo>
                  <a:pt x="8851" y="139"/>
                </a:lnTo>
                <a:lnTo>
                  <a:pt x="11135" y="127"/>
                </a:lnTo>
                <a:lnTo>
                  <a:pt x="10807" y="12"/>
                </a:lnTo>
                <a:lnTo>
                  <a:pt x="885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5" name="bk object 335"/>
          <p:cNvSpPr/>
          <p:nvPr/>
        </p:nvSpPr>
        <p:spPr>
          <a:xfrm>
            <a:off x="5487256" y="5947618"/>
            <a:ext cx="27591" cy="2094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6" name="bk object 336"/>
          <p:cNvSpPr/>
          <p:nvPr/>
        </p:nvSpPr>
        <p:spPr>
          <a:xfrm>
            <a:off x="5443110" y="5890364"/>
            <a:ext cx="56148" cy="78858"/>
          </a:xfrm>
          <a:prstGeom prst="rect">
            <a:avLst/>
          </a:prstGeom>
          <a:blipFill>
            <a:blip r:embed="rId6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7" name="bk object 337"/>
          <p:cNvSpPr/>
          <p:nvPr/>
        </p:nvSpPr>
        <p:spPr>
          <a:xfrm>
            <a:off x="5469595" y="5893689"/>
            <a:ext cx="20220" cy="12702"/>
          </a:xfrm>
          <a:prstGeom prst="rect">
            <a:avLst/>
          </a:prstGeom>
          <a:blipFill>
            <a:blip r:embed="rId6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8" name="bk object 338"/>
          <p:cNvSpPr/>
          <p:nvPr/>
        </p:nvSpPr>
        <p:spPr>
          <a:xfrm>
            <a:off x="5460800" y="5884250"/>
            <a:ext cx="24324" cy="56561"/>
          </a:xfrm>
          <a:prstGeom prst="rect">
            <a:avLst/>
          </a:prstGeom>
          <a:blipFill>
            <a:blip r:embed="rId6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9" name="bk object 339"/>
          <p:cNvSpPr/>
          <p:nvPr/>
        </p:nvSpPr>
        <p:spPr>
          <a:xfrm>
            <a:off x="5734244" y="5910695"/>
            <a:ext cx="119280" cy="98220"/>
          </a:xfrm>
          <a:prstGeom prst="rect">
            <a:avLst/>
          </a:prstGeom>
          <a:blipFill>
            <a:blip r:embed="rId7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0" name="bk object 340"/>
          <p:cNvSpPr/>
          <p:nvPr/>
        </p:nvSpPr>
        <p:spPr>
          <a:xfrm>
            <a:off x="5894035" y="5910695"/>
            <a:ext cx="0" cy="98281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056"/>
                </a:lnTo>
              </a:path>
            </a:pathLst>
          </a:custGeom>
          <a:ln w="19761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1" name="bk object 341"/>
          <p:cNvSpPr/>
          <p:nvPr/>
        </p:nvSpPr>
        <p:spPr>
          <a:xfrm>
            <a:off x="5934545" y="5910695"/>
            <a:ext cx="95713" cy="98220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2" name="bk object 342"/>
          <p:cNvSpPr/>
          <p:nvPr/>
        </p:nvSpPr>
        <p:spPr>
          <a:xfrm>
            <a:off x="6092728" y="5923043"/>
            <a:ext cx="0" cy="86157"/>
          </a:xfrm>
          <a:custGeom>
            <a:avLst/>
            <a:gdLst/>
            <a:ahLst/>
            <a:cxnLst/>
            <a:rect l="l" t="t" r="r" b="b"/>
            <a:pathLst>
              <a:path h="126365">
                <a:moveTo>
                  <a:pt x="0" y="0"/>
                </a:moveTo>
                <a:lnTo>
                  <a:pt x="0" y="125945"/>
                </a:lnTo>
              </a:path>
            </a:pathLst>
          </a:custGeom>
          <a:ln w="19748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3" name="bk object 343"/>
          <p:cNvSpPr/>
          <p:nvPr/>
        </p:nvSpPr>
        <p:spPr>
          <a:xfrm>
            <a:off x="6048666" y="5916869"/>
            <a:ext cx="88651" cy="0"/>
          </a:xfrm>
          <a:custGeom>
            <a:avLst/>
            <a:gdLst/>
            <a:ahLst/>
            <a:cxnLst/>
            <a:rect l="l" t="t" r="r" b="b"/>
            <a:pathLst>
              <a:path w="113029">
                <a:moveTo>
                  <a:pt x="0" y="0"/>
                </a:moveTo>
                <a:lnTo>
                  <a:pt x="112572" y="0"/>
                </a:lnTo>
              </a:path>
            </a:pathLst>
          </a:custGeom>
          <a:ln w="18110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4" name="bk object 344"/>
          <p:cNvSpPr/>
          <p:nvPr/>
        </p:nvSpPr>
        <p:spPr>
          <a:xfrm>
            <a:off x="6155206" y="5910695"/>
            <a:ext cx="217892" cy="98220"/>
          </a:xfrm>
          <a:prstGeom prst="rect">
            <a:avLst/>
          </a:prstGeom>
          <a:blipFill>
            <a:blip r:embed="rId7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5" name="bk object 345"/>
          <p:cNvSpPr/>
          <p:nvPr/>
        </p:nvSpPr>
        <p:spPr>
          <a:xfrm>
            <a:off x="6390052" y="5910695"/>
            <a:ext cx="95713" cy="98220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6" name="bk object 346"/>
          <p:cNvSpPr/>
          <p:nvPr/>
        </p:nvSpPr>
        <p:spPr>
          <a:xfrm>
            <a:off x="6507231" y="5909569"/>
            <a:ext cx="86200" cy="100186"/>
          </a:xfrm>
          <a:prstGeom prst="rect">
            <a:avLst/>
          </a:prstGeom>
          <a:blipFill>
            <a:blip r:embed="rId7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7" name="bk object 347"/>
          <p:cNvSpPr/>
          <p:nvPr/>
        </p:nvSpPr>
        <p:spPr>
          <a:xfrm>
            <a:off x="6618612" y="5909847"/>
            <a:ext cx="217583" cy="100047"/>
          </a:xfrm>
          <a:prstGeom prst="rect">
            <a:avLst/>
          </a:prstGeom>
          <a:blipFill>
            <a:blip r:embed="rId7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8" name="bk object 348"/>
          <p:cNvSpPr/>
          <p:nvPr/>
        </p:nvSpPr>
        <p:spPr>
          <a:xfrm>
            <a:off x="6858956" y="5910695"/>
            <a:ext cx="190938" cy="98220"/>
          </a:xfrm>
          <a:prstGeom prst="rect">
            <a:avLst/>
          </a:prstGeom>
          <a:blipFill>
            <a:blip r:embed="rId7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9" name="bk object 349"/>
          <p:cNvSpPr/>
          <p:nvPr/>
        </p:nvSpPr>
        <p:spPr>
          <a:xfrm>
            <a:off x="7068142" y="6002482"/>
            <a:ext cx="80682" cy="0"/>
          </a:xfrm>
          <a:custGeom>
            <a:avLst/>
            <a:gdLst/>
            <a:ahLst/>
            <a:cxnLst/>
            <a:rect l="l" t="t" r="r" b="b"/>
            <a:pathLst>
              <a:path w="102870">
                <a:moveTo>
                  <a:pt x="0" y="0"/>
                </a:moveTo>
                <a:lnTo>
                  <a:pt x="102489" y="0"/>
                </a:lnTo>
              </a:path>
            </a:pathLst>
          </a:custGeom>
          <a:ln w="17779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0" name="bk object 350"/>
          <p:cNvSpPr/>
          <p:nvPr/>
        </p:nvSpPr>
        <p:spPr>
          <a:xfrm>
            <a:off x="7068142" y="5965248"/>
            <a:ext cx="15937" cy="31173"/>
          </a:xfrm>
          <a:custGeom>
            <a:avLst/>
            <a:gdLst/>
            <a:ahLst/>
            <a:cxnLst/>
            <a:rect l="l" t="t" r="r" b="b"/>
            <a:pathLst>
              <a:path w="20320" h="45720">
                <a:moveTo>
                  <a:pt x="0" y="45720"/>
                </a:moveTo>
                <a:lnTo>
                  <a:pt x="19761" y="45720"/>
                </a:lnTo>
                <a:lnTo>
                  <a:pt x="19761" y="0"/>
                </a:lnTo>
                <a:lnTo>
                  <a:pt x="0" y="0"/>
                </a:lnTo>
                <a:lnTo>
                  <a:pt x="0" y="45720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1" name="bk object 351"/>
          <p:cNvSpPr/>
          <p:nvPr/>
        </p:nvSpPr>
        <p:spPr>
          <a:xfrm>
            <a:off x="7068142" y="5959186"/>
            <a:ext cx="72216" cy="0"/>
          </a:xfrm>
          <a:custGeom>
            <a:avLst/>
            <a:gdLst/>
            <a:ahLst/>
            <a:cxnLst/>
            <a:rect l="l" t="t" r="r" b="b"/>
            <a:pathLst>
              <a:path w="92075">
                <a:moveTo>
                  <a:pt x="0" y="0"/>
                </a:moveTo>
                <a:lnTo>
                  <a:pt x="91579" y="0"/>
                </a:lnTo>
              </a:path>
            </a:pathLst>
          </a:custGeom>
          <a:ln w="17779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2" name="bk object 352"/>
          <p:cNvSpPr/>
          <p:nvPr/>
        </p:nvSpPr>
        <p:spPr>
          <a:xfrm>
            <a:off x="7068142" y="5922818"/>
            <a:ext cx="15937" cy="30307"/>
          </a:xfrm>
          <a:custGeom>
            <a:avLst/>
            <a:gdLst/>
            <a:ahLst/>
            <a:cxnLst/>
            <a:rect l="l" t="t" r="r" b="b"/>
            <a:pathLst>
              <a:path w="20320" h="44450">
                <a:moveTo>
                  <a:pt x="0" y="44449"/>
                </a:moveTo>
                <a:lnTo>
                  <a:pt x="19761" y="44449"/>
                </a:lnTo>
                <a:lnTo>
                  <a:pt x="19761" y="0"/>
                </a:lnTo>
                <a:lnTo>
                  <a:pt x="0" y="0"/>
                </a:lnTo>
                <a:lnTo>
                  <a:pt x="0" y="44449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3" name="bk object 353"/>
          <p:cNvSpPr/>
          <p:nvPr/>
        </p:nvSpPr>
        <p:spPr>
          <a:xfrm>
            <a:off x="7068142" y="5916756"/>
            <a:ext cx="78690" cy="0"/>
          </a:xfrm>
          <a:custGeom>
            <a:avLst/>
            <a:gdLst/>
            <a:ahLst/>
            <a:cxnLst/>
            <a:rect l="l" t="t" r="r" b="b"/>
            <a:pathLst>
              <a:path w="100329">
                <a:moveTo>
                  <a:pt x="0" y="0"/>
                </a:moveTo>
                <a:lnTo>
                  <a:pt x="100012" y="0"/>
                </a:lnTo>
              </a:path>
            </a:pathLst>
          </a:custGeom>
          <a:ln w="17780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74930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81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957165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98717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27142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4B6AE-6A26-924F-989B-293428AB70CD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140E3-FB8E-1643-9989-0050313D6B14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19389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46462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30806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99160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24210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70075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84565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61141-5606-9649-914F-880FE1C19CD7}" type="datetimeFigureOut">
              <a:rPr lang="es-ES_tradnl" smtClean="0"/>
              <a:t>09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67418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00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9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674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11719">
        <a:defRPr>
          <a:latin typeface="+mn-lt"/>
          <a:ea typeface="+mn-ea"/>
          <a:cs typeface="+mn-cs"/>
        </a:defRPr>
      </a:lvl2pPr>
      <a:lvl3pPr marL="623438">
        <a:defRPr>
          <a:latin typeface="+mn-lt"/>
          <a:ea typeface="+mn-ea"/>
          <a:cs typeface="+mn-cs"/>
        </a:defRPr>
      </a:lvl3pPr>
      <a:lvl4pPr marL="935157">
        <a:defRPr>
          <a:latin typeface="+mn-lt"/>
          <a:ea typeface="+mn-ea"/>
          <a:cs typeface="+mn-cs"/>
        </a:defRPr>
      </a:lvl4pPr>
      <a:lvl5pPr marL="1246876">
        <a:defRPr>
          <a:latin typeface="+mn-lt"/>
          <a:ea typeface="+mn-ea"/>
          <a:cs typeface="+mn-cs"/>
        </a:defRPr>
      </a:lvl5pPr>
      <a:lvl6pPr marL="1558595">
        <a:defRPr>
          <a:latin typeface="+mn-lt"/>
          <a:ea typeface="+mn-ea"/>
          <a:cs typeface="+mn-cs"/>
        </a:defRPr>
      </a:lvl6pPr>
      <a:lvl7pPr marL="1870314">
        <a:defRPr>
          <a:latin typeface="+mn-lt"/>
          <a:ea typeface="+mn-ea"/>
          <a:cs typeface="+mn-cs"/>
        </a:defRPr>
      </a:lvl7pPr>
      <a:lvl8pPr marL="2182033">
        <a:defRPr>
          <a:latin typeface="+mn-lt"/>
          <a:ea typeface="+mn-ea"/>
          <a:cs typeface="+mn-cs"/>
        </a:defRPr>
      </a:lvl8pPr>
      <a:lvl9pPr marL="249375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11719">
        <a:defRPr>
          <a:latin typeface="+mn-lt"/>
          <a:ea typeface="+mn-ea"/>
          <a:cs typeface="+mn-cs"/>
        </a:defRPr>
      </a:lvl2pPr>
      <a:lvl3pPr marL="623438">
        <a:defRPr>
          <a:latin typeface="+mn-lt"/>
          <a:ea typeface="+mn-ea"/>
          <a:cs typeface="+mn-cs"/>
        </a:defRPr>
      </a:lvl3pPr>
      <a:lvl4pPr marL="935157">
        <a:defRPr>
          <a:latin typeface="+mn-lt"/>
          <a:ea typeface="+mn-ea"/>
          <a:cs typeface="+mn-cs"/>
        </a:defRPr>
      </a:lvl4pPr>
      <a:lvl5pPr marL="1246876">
        <a:defRPr>
          <a:latin typeface="+mn-lt"/>
          <a:ea typeface="+mn-ea"/>
          <a:cs typeface="+mn-cs"/>
        </a:defRPr>
      </a:lvl5pPr>
      <a:lvl6pPr marL="1558595">
        <a:defRPr>
          <a:latin typeface="+mn-lt"/>
          <a:ea typeface="+mn-ea"/>
          <a:cs typeface="+mn-cs"/>
        </a:defRPr>
      </a:lvl6pPr>
      <a:lvl7pPr marL="1870314">
        <a:defRPr>
          <a:latin typeface="+mn-lt"/>
          <a:ea typeface="+mn-ea"/>
          <a:cs typeface="+mn-cs"/>
        </a:defRPr>
      </a:lvl7pPr>
      <a:lvl8pPr marL="2182033">
        <a:defRPr>
          <a:latin typeface="+mn-lt"/>
          <a:ea typeface="+mn-ea"/>
          <a:cs typeface="+mn-cs"/>
        </a:defRPr>
      </a:lvl8pPr>
      <a:lvl9pPr marL="2493752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8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0"/>
            <a:ext cx="12192000" cy="1058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2064"/>
            <a:ext cx="2683042" cy="1623282"/>
          </a:xfrm>
          <a:prstGeom prst="rect">
            <a:avLst/>
          </a:prstGeom>
        </p:spPr>
      </p:pic>
      <p:pic>
        <p:nvPicPr>
          <p:cNvPr id="8" name="Imagen 7" descr="FRANJA-GRI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863" y="3271810"/>
            <a:ext cx="5372100" cy="452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866" y="5579864"/>
            <a:ext cx="6635847" cy="564516"/>
          </a:xfrm>
          <a:prstGeom prst="rect">
            <a:avLst/>
          </a:prstGeom>
        </p:spPr>
      </p:pic>
      <p:sp>
        <p:nvSpPr>
          <p:cNvPr id="13" name="Title 38">
            <a:extLst>
              <a:ext uri="{FF2B5EF4-FFF2-40B4-BE49-F238E27FC236}">
                <a16:creationId xmlns:a16="http://schemas.microsoft.com/office/drawing/2014/main" id="{D0A056C0-1D56-4F8B-93FC-B912D81698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3912" y="2173326"/>
            <a:ext cx="8673548" cy="1094412"/>
          </a:xfrm>
        </p:spPr>
        <p:txBody>
          <a:bodyPr>
            <a:normAutofit fontScale="90000"/>
          </a:bodyPr>
          <a:lstStyle/>
          <a:p>
            <a:r>
              <a:rPr lang="es-CO" sz="4000" b="1">
                <a:solidFill>
                  <a:srgbClr val="F06103"/>
                </a:solidFill>
                <a:latin typeface="Open Sans"/>
                <a:cs typeface="Open Sans"/>
              </a:rPr>
              <a:t>VICEPRESIDENCIA DE ESTRUCTURACION </a:t>
            </a:r>
            <a:endParaRPr lang="en-US" sz="2400" dirty="0">
              <a:solidFill>
                <a:srgbClr val="082E65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361601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B819A0A5-9E74-47A0-BA30-4B12197E6D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2711666"/>
              </p:ext>
            </p:extLst>
          </p:nvPr>
        </p:nvGraphicFramePr>
        <p:xfrm>
          <a:off x="674247" y="857343"/>
          <a:ext cx="10795379" cy="5894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EF7165BE-2359-4931-B3A2-3EB90872FE8F}"/>
              </a:ext>
            </a:extLst>
          </p:cNvPr>
          <p:cNvSpPr txBox="1">
            <a:spLocks/>
          </p:cNvSpPr>
          <p:nvPr/>
        </p:nvSpPr>
        <p:spPr>
          <a:xfrm>
            <a:off x="345885" y="265044"/>
            <a:ext cx="7556552" cy="5922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Iniciativas Público - Privada En Estructuración (previo a trámites) </a:t>
            </a:r>
            <a:b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</a:br>
            <a:r>
              <a:rPr lang="es-ES" sz="1800" b="1" dirty="0">
                <a:solidFill>
                  <a:srgbClr val="F06102"/>
                </a:solidFill>
                <a:latin typeface="Arial"/>
                <a:cs typeface="Arial"/>
              </a:rPr>
              <a:t>Modo Carretero – Aeroportuario – Férreo – Portuario – Logístico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9A3DA4E2-F91C-4D0B-AAE3-682E323B0BDD}"/>
              </a:ext>
            </a:extLst>
          </p:cNvPr>
          <p:cNvSpPr txBox="1"/>
          <p:nvPr/>
        </p:nvSpPr>
        <p:spPr>
          <a:xfrm>
            <a:off x="1523053" y="4181258"/>
            <a:ext cx="1030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/>
              <a:t>6 Proyectos</a:t>
            </a:r>
          </a:p>
        </p:txBody>
      </p:sp>
      <p:sp>
        <p:nvSpPr>
          <p:cNvPr id="7" name="CuadroTexto 6">
            <a:extLst>
              <a:ext uri="{FF2B5EF4-FFF2-40B4-BE49-F238E27FC236}">
                <a16:creationId xmlns:a16="http://schemas.microsoft.com/office/drawing/2014/main" id="{AAEFF78F-E216-4147-82E0-EAFF5113D886}"/>
              </a:ext>
            </a:extLst>
          </p:cNvPr>
          <p:cNvSpPr txBox="1"/>
          <p:nvPr/>
        </p:nvSpPr>
        <p:spPr>
          <a:xfrm>
            <a:off x="6686420" y="1172643"/>
            <a:ext cx="10336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/>
              <a:t>23 Proyectos</a:t>
            </a:r>
          </a:p>
        </p:txBody>
      </p:sp>
      <p:sp>
        <p:nvSpPr>
          <p:cNvPr id="8" name="CuadroTexto 7">
            <a:extLst>
              <a:ext uri="{FF2B5EF4-FFF2-40B4-BE49-F238E27FC236}">
                <a16:creationId xmlns:a16="http://schemas.microsoft.com/office/drawing/2014/main" id="{E6886250-BF25-4EBA-90F2-915F8E5E9896}"/>
              </a:ext>
            </a:extLst>
          </p:cNvPr>
          <p:cNvSpPr txBox="1"/>
          <p:nvPr/>
        </p:nvSpPr>
        <p:spPr>
          <a:xfrm>
            <a:off x="9375390" y="4068636"/>
            <a:ext cx="10303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200" b="1" dirty="0"/>
              <a:t>4 Proyectos</a:t>
            </a:r>
          </a:p>
        </p:txBody>
      </p:sp>
    </p:spTree>
    <p:extLst>
      <p:ext uri="{BB962C8B-B14F-4D97-AF65-F5344CB8AC3E}">
        <p14:creationId xmlns:p14="http://schemas.microsoft.com/office/powerpoint/2010/main" val="3960172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D64FAB0D-0247-43F4-A8DA-82F3C56C9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7888318"/>
              </p:ext>
            </p:extLst>
          </p:nvPr>
        </p:nvGraphicFramePr>
        <p:xfrm>
          <a:off x="678614" y="1662865"/>
          <a:ext cx="2767932" cy="3111305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85794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Inicio de Estructuración </a:t>
                      </a:r>
                      <a:endParaRPr lang="es-CO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829182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97851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Ruta de Sol 2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Malla Vial de Valle del Cauca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8612984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ga - Buenaventura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1913581"/>
                  </a:ext>
                </a:extLst>
              </a:tr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Modo Aeroportuari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Dorado II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Modo Férre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Dorada  - </a:t>
                      </a:r>
                      <a:r>
                        <a:rPr lang="es-CO" sz="1600" u="none" strike="noStrike" dirty="0" err="1">
                          <a:effectLst/>
                        </a:rPr>
                        <a:t>Chiriguana</a:t>
                      </a:r>
                      <a:r>
                        <a:rPr lang="es-CO" sz="1600" u="none" strike="noStrike" dirty="0">
                          <a:effectLst/>
                        </a:rPr>
                        <a:t>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Modo Logístic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611907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CAEB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5173499"/>
                  </a:ext>
                </a:extLst>
              </a:tr>
            </a:tbl>
          </a:graphicData>
        </a:graphic>
      </p:graphicFrame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AEAA863D-6A42-408C-9F3F-0C5327C518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4786853"/>
              </p:ext>
            </p:extLst>
          </p:nvPr>
        </p:nvGraphicFramePr>
        <p:xfrm>
          <a:off x="4712034" y="1662865"/>
          <a:ext cx="2767932" cy="2825508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Aprobación de Prefactibilidad</a:t>
                      </a: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829182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381720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IP Chía - Cota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440156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IP Perimetral del Sur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Autopistas para La PAZ 2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Modo Férre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130026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IP Armenia – Cajamarca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hiriguaná </a:t>
                      </a:r>
                      <a:r>
                        <a:rPr lang="es-CO" sz="1600" u="none" strike="noStrike" dirty="0">
                          <a:effectLst/>
                        </a:rPr>
                        <a:t>– </a:t>
                      </a: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bulla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17611907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Tren de Cundinamarca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753504994"/>
                  </a:ext>
                </a:extLst>
              </a:tr>
            </a:tbl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3B01DF6E-FCAE-4832-8E62-9B32E6980AA2}"/>
              </a:ext>
            </a:extLst>
          </p:cNvPr>
          <p:cNvSpPr txBox="1">
            <a:spLocks/>
          </p:cNvSpPr>
          <p:nvPr/>
        </p:nvSpPr>
        <p:spPr>
          <a:xfrm>
            <a:off x="355410" y="341244"/>
            <a:ext cx="7556552" cy="5922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Iniciativas Público - Privada En Estructuración (previo a trámites)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69CBE443-92DA-4DE7-AD24-8939C9B9A4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4065713"/>
              </p:ext>
            </p:extLst>
          </p:nvPr>
        </p:nvGraphicFramePr>
        <p:xfrm>
          <a:off x="8492122" y="1662865"/>
          <a:ext cx="2767932" cy="2793081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563305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Factibilidad En Estudios Avanzados </a:t>
                      </a:r>
                      <a:endParaRPr lang="es-CO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7829182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8978513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IP Tunja - Moniquirá- Barbosa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28704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Modo Aeroportuari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IP Sur Occidente de Colombia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Dorado Mall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39546138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Modo Férre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323788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IP Dorada  - Chiriguaná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24517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E51E62EE-1807-43BC-A9FD-3C879FDE7C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2076067"/>
              </p:ext>
            </p:extLst>
          </p:nvPr>
        </p:nvGraphicFramePr>
        <p:xfrm>
          <a:off x="869114" y="1355403"/>
          <a:ext cx="2767932" cy="2663585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381720"/>
                  </a:ext>
                </a:extLst>
              </a:tr>
              <a:tr h="342303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nexión Vial el Nuevo Sol (Villeta - Guaduas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30025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rredores del Casanare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Villa de Leyva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able de Oriente 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130026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rdoba - Sucre (Autopistas del </a:t>
                      </a:r>
                      <a:r>
                        <a:rPr lang="es-C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nu</a:t>
                      </a:r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Santuario - Doradal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611907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Viaducto Soacha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504994"/>
                  </a:ext>
                </a:extLst>
              </a:tr>
            </a:tbl>
          </a:graphicData>
        </a:graphic>
      </p:graphicFrame>
      <p:graphicFrame>
        <p:nvGraphicFramePr>
          <p:cNvPr id="5" name="Tabla 4">
            <a:extLst>
              <a:ext uri="{FF2B5EF4-FFF2-40B4-BE49-F238E27FC236}">
                <a16:creationId xmlns:a16="http://schemas.microsoft.com/office/drawing/2014/main" id="{D89935B7-05BF-4C4F-A194-B8593FE6EB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198790"/>
              </p:ext>
            </p:extLst>
          </p:nvPr>
        </p:nvGraphicFramePr>
        <p:xfrm>
          <a:off x="4771383" y="1402373"/>
          <a:ext cx="2767932" cy="2569643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381720"/>
                  </a:ext>
                </a:extLst>
              </a:tr>
              <a:tr h="342303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rredor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al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ipaquirá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Barbosa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30025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Sistema Vial de Acceso a Mompox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ruce de la Cordillera Central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Pasto – Chachagüí.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130026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Accesos Norte de Bogotá Fase 2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nexión Vial Girón - Piedecuesta</a:t>
                      </a:r>
                      <a:b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611907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Villeta - Puerto Salga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3504994"/>
                  </a:ext>
                </a:extLst>
              </a:tr>
            </a:tbl>
          </a:graphicData>
        </a:graphic>
      </p:graphicFrame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93F358E4-13C7-46C4-94E1-7817D17D56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869422"/>
              </p:ext>
            </p:extLst>
          </p:nvPr>
        </p:nvGraphicFramePr>
        <p:xfrm>
          <a:off x="8673652" y="1355403"/>
          <a:ext cx="2767932" cy="2460736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do Carretero</a:t>
                      </a:r>
                    </a:p>
                  </a:txBody>
                  <a:tcPr marL="9525" marR="9525" marT="9525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8381720"/>
                  </a:ext>
                </a:extLst>
              </a:tr>
              <a:tr h="342303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ueva Ruta del Café sector I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30025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orredor Vial Zipaquirá - Barbosa</a:t>
                      </a:r>
                      <a:b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Conexión ruta 45A)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Transversal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siana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variante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gamuxi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rredor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al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gamoso</a:t>
                      </a:r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guazu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</a:t>
                      </a:r>
                      <a:r>
                        <a:rPr lang="es-C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illapinzon</a:t>
                      </a:r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Tunja -La Ye -</a:t>
                      </a:r>
                      <a:r>
                        <a:rPr lang="es-CO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ibabosa</a:t>
                      </a:r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- Sogamoso - Nobsa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4130026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Barbosa - Bucaramanga 3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1872093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0848D001-9960-45D8-952A-15E3A09A93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4327317"/>
              </p:ext>
            </p:extLst>
          </p:nvPr>
        </p:nvGraphicFramePr>
        <p:xfrm>
          <a:off x="4712034" y="4441645"/>
          <a:ext cx="2767932" cy="1835229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2767932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u="none" strike="noStrike" dirty="0">
                          <a:effectLst/>
                        </a:rPr>
                        <a:t>Modo Aeroportuario </a:t>
                      </a:r>
                      <a:endParaRPr lang="es-CO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5440726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P Centro Logístico Aeroportuario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236384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P Puerto Logístico de las Américas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18381720"/>
                  </a:ext>
                </a:extLst>
              </a:tr>
              <a:tr h="34230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Modo Férre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9502947"/>
                  </a:ext>
                </a:extLst>
              </a:tr>
              <a:tr h="300250">
                <a:tc>
                  <a:txBody>
                    <a:bodyPr/>
                    <a:lstStyle/>
                    <a:p>
                      <a:pPr algn="ctr" fontAlgn="ctr"/>
                      <a:r>
                        <a:rPr lang="es-CO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hiriguaná - Dibulla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98169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ogotá (Cra8) - </a:t>
                      </a:r>
                      <a:r>
                        <a:rPr lang="pt-BR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catativá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</a:tbl>
          </a:graphicData>
        </a:graphic>
      </p:graphicFrame>
      <p:sp>
        <p:nvSpPr>
          <p:cNvPr id="8" name="Título 1">
            <a:extLst>
              <a:ext uri="{FF2B5EF4-FFF2-40B4-BE49-F238E27FC236}">
                <a16:creationId xmlns:a16="http://schemas.microsoft.com/office/drawing/2014/main" id="{05868181-A674-4F07-8411-D3A548FFBAF2}"/>
              </a:ext>
            </a:extLst>
          </p:cNvPr>
          <p:cNvSpPr txBox="1">
            <a:spLocks/>
          </p:cNvSpPr>
          <p:nvPr/>
        </p:nvSpPr>
        <p:spPr>
          <a:xfrm>
            <a:off x="345885" y="317814"/>
            <a:ext cx="7556552" cy="5922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Iniciativas Público - Privada En Estructuración (Rechazados)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2936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EA625D0D-1E9C-4A81-8E17-5FC12C3A9B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3484225"/>
              </p:ext>
            </p:extLst>
          </p:nvPr>
        </p:nvGraphicFramePr>
        <p:xfrm>
          <a:off x="1983545" y="1547446"/>
          <a:ext cx="8539089" cy="43328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26EE235C-4385-452B-ABA7-C0D2DFC9213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4777" y="103654"/>
            <a:ext cx="6975673" cy="711569"/>
          </a:xfrm>
        </p:spPr>
        <p:txBody>
          <a:bodyPr>
            <a:noAutofit/>
          </a:bodyPr>
          <a:lstStyle/>
          <a:p>
            <a:pPr lvl="0">
              <a:lnSpc>
                <a:spcPct val="80000"/>
              </a:lnSpc>
            </a:pPr>
            <a:r>
              <a:rPr lang="es-ES" sz="1800">
                <a:solidFill>
                  <a:srgbClr val="024077"/>
                </a:solidFill>
                <a:latin typeface="Arial"/>
                <a:cs typeface="Arial"/>
              </a:rPr>
              <a:t>Iniciativas que han iniciado trámites de aprobaciones en el Ministerio de Hacienda  y Crédito Publico </a:t>
            </a:r>
            <a:br>
              <a:rPr lang="es-ES" sz="1800">
                <a:solidFill>
                  <a:srgbClr val="024077"/>
                </a:solidFill>
                <a:latin typeface="Arial"/>
                <a:cs typeface="Arial"/>
              </a:rPr>
            </a:br>
            <a:r>
              <a:rPr lang="es-ES" sz="1800" b="1">
                <a:solidFill>
                  <a:srgbClr val="F06102"/>
                </a:solidFill>
                <a:latin typeface="Arial"/>
                <a:cs typeface="Arial"/>
              </a:rPr>
              <a:t>Modo Carretero - Aeroportuario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9397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D64FAB0D-0247-43F4-A8DA-82F3C56C9F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2528183"/>
              </p:ext>
            </p:extLst>
          </p:nvPr>
        </p:nvGraphicFramePr>
        <p:xfrm>
          <a:off x="1526624" y="2214320"/>
          <a:ext cx="3386570" cy="1036364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3386570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effectLst/>
                        </a:rPr>
                        <a:t>Modo Aeroportuario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 Aeropuerto de Cartagena – Expansión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 Aeropuertos de San Andrés y Providencia</a:t>
                      </a:r>
                      <a:endParaRPr lang="es-CO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</a:tbl>
          </a:graphicData>
        </a:graphic>
      </p:graphicFrame>
      <p:sp>
        <p:nvSpPr>
          <p:cNvPr id="4" name="Título 1">
            <a:extLst>
              <a:ext uri="{FF2B5EF4-FFF2-40B4-BE49-F238E27FC236}">
                <a16:creationId xmlns:a16="http://schemas.microsoft.com/office/drawing/2014/main" id="{3B01DF6E-FCAE-4832-8E62-9B32E6980AA2}"/>
              </a:ext>
            </a:extLst>
          </p:cNvPr>
          <p:cNvSpPr txBox="1">
            <a:spLocks/>
          </p:cNvSpPr>
          <p:nvPr/>
        </p:nvSpPr>
        <p:spPr>
          <a:xfrm>
            <a:off x="345885" y="265044"/>
            <a:ext cx="7556552" cy="59229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Iniciativas que han iniciado trámites de aprobaciones en el Ministerio de Hacienda  y Crédito Publico</a:t>
            </a:r>
          </a:p>
          <a:p>
            <a:pPr>
              <a:lnSpc>
                <a:spcPct val="80000"/>
              </a:lnSpc>
            </a:pPr>
            <a:r>
              <a:rPr lang="es-ES" sz="1800" b="1" dirty="0">
                <a:solidFill>
                  <a:srgbClr val="F06102"/>
                </a:solidFill>
                <a:latin typeface="Arial"/>
                <a:cs typeface="Arial"/>
              </a:rPr>
              <a:t>Modo Carretero - Aeroportuario</a:t>
            </a:r>
            <a:b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</a:br>
            <a:r>
              <a:rPr lang="es-ES" sz="1800" b="1" dirty="0">
                <a:solidFill>
                  <a:srgbClr val="F06102"/>
                </a:solidFill>
                <a:latin typeface="Arial"/>
                <a:cs typeface="Arial"/>
              </a:rPr>
              <a:t>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  <p:graphicFrame>
        <p:nvGraphicFramePr>
          <p:cNvPr id="12" name="Tabla 11">
            <a:extLst>
              <a:ext uri="{FF2B5EF4-FFF2-40B4-BE49-F238E27FC236}">
                <a16:creationId xmlns:a16="http://schemas.microsoft.com/office/drawing/2014/main" id="{C9ADAB50-2DCA-4F06-8F81-F268EF3F2A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7858963"/>
              </p:ext>
            </p:extLst>
          </p:nvPr>
        </p:nvGraphicFramePr>
        <p:xfrm>
          <a:off x="5759705" y="2214320"/>
          <a:ext cx="3386570" cy="1575523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3386570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u="none" strike="noStrike" dirty="0">
                          <a:solidFill>
                            <a:schemeClr val="bg1"/>
                          </a:solidFill>
                          <a:effectLst/>
                        </a:rPr>
                        <a:t>Modo Carretero</a:t>
                      </a:r>
                      <a:endParaRPr lang="es-CO" sz="16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 </a:t>
                      </a:r>
                      <a:r>
                        <a:rPr lang="es-CO" sz="16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illetas</a:t>
                      </a:r>
                      <a:r>
                        <a:rPr lang="es-CO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- Guaduas - El </a:t>
                      </a:r>
                      <a:r>
                        <a:rPr lang="es-CO" sz="160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rán</a:t>
                      </a:r>
                      <a:r>
                        <a:rPr lang="es-CO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PP Accesos Norte II </a:t>
                      </a:r>
                      <a:endParaRPr lang="es-CO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249837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 </a:t>
                      </a:r>
                      <a:r>
                        <a:rPr lang="es-ES" sz="1600" u="none" strike="noStrike" kern="1200" noProof="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o</a:t>
                      </a:r>
                      <a:r>
                        <a:rPr lang="es-ES" sz="160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r</a:t>
                      </a:r>
                      <a:endParaRPr lang="es-CO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712822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160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P Pereira – La Victoria, Cerritos – La Virginia</a:t>
                      </a:r>
                      <a:endParaRPr lang="es-CO" sz="160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640200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77221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8371ED12-4C86-4216-B3FA-F37C1C99B6E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27265360"/>
              </p:ext>
            </p:extLst>
          </p:nvPr>
        </p:nvGraphicFramePr>
        <p:xfrm>
          <a:off x="970671" y="1510517"/>
          <a:ext cx="9605889" cy="44823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ítulo 1">
            <a:extLst>
              <a:ext uri="{FF2B5EF4-FFF2-40B4-BE49-F238E27FC236}">
                <a16:creationId xmlns:a16="http://schemas.microsoft.com/office/drawing/2014/main" id="{C3AC3237-7542-4392-8EEF-EDE4C98CD0F3}"/>
              </a:ext>
            </a:extLst>
          </p:cNvPr>
          <p:cNvSpPr txBox="1">
            <a:spLocks/>
          </p:cNvSpPr>
          <p:nvPr/>
        </p:nvSpPr>
        <p:spPr>
          <a:xfrm>
            <a:off x="350700" y="251791"/>
            <a:ext cx="9232196" cy="5419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Solicitud de Concesiones – Ley 1 de 1991</a:t>
            </a:r>
            <a:b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</a:br>
            <a:r>
              <a:rPr lang="es-ES" sz="1800" b="1" dirty="0">
                <a:solidFill>
                  <a:srgbClr val="F06102"/>
                </a:solidFill>
                <a:latin typeface="Arial"/>
                <a:cs typeface="Arial"/>
              </a:rPr>
              <a:t>Modo Portuario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521004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>
            <a:extLst>
              <a:ext uri="{FF2B5EF4-FFF2-40B4-BE49-F238E27FC236}">
                <a16:creationId xmlns:a16="http://schemas.microsoft.com/office/drawing/2014/main" id="{C3AC3237-7542-4392-8EEF-EDE4C98CD0F3}"/>
              </a:ext>
            </a:extLst>
          </p:cNvPr>
          <p:cNvSpPr txBox="1">
            <a:spLocks/>
          </p:cNvSpPr>
          <p:nvPr/>
        </p:nvSpPr>
        <p:spPr>
          <a:xfrm>
            <a:off x="350700" y="251791"/>
            <a:ext cx="9232196" cy="54193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  <a:t>Solicitud de Concesiones – Ley 1 de 1991</a:t>
            </a:r>
            <a:br>
              <a:rPr lang="es-ES" sz="1800" dirty="0">
                <a:solidFill>
                  <a:srgbClr val="024077"/>
                </a:solidFill>
                <a:latin typeface="Arial"/>
                <a:cs typeface="Arial"/>
              </a:rPr>
            </a:br>
            <a:r>
              <a:rPr lang="es-ES" sz="1800" b="1" dirty="0">
                <a:solidFill>
                  <a:srgbClr val="F06102"/>
                </a:solidFill>
                <a:latin typeface="Arial"/>
                <a:cs typeface="Arial"/>
              </a:rPr>
              <a:t>Modo Portuario </a:t>
            </a:r>
            <a:endParaRPr lang="es-ES" sz="1800" b="1" dirty="0">
              <a:solidFill>
                <a:srgbClr val="F06103"/>
              </a:solidFill>
              <a:latin typeface="Arial"/>
              <a:cs typeface="Arial"/>
            </a:endParaRPr>
          </a:p>
        </p:txBody>
      </p:sp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CBB4E256-47F8-4176-8FA2-10D2167E2E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1104017"/>
              </p:ext>
            </p:extLst>
          </p:nvPr>
        </p:nvGraphicFramePr>
        <p:xfrm>
          <a:off x="484453" y="1633089"/>
          <a:ext cx="3386570" cy="2253923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3386570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u="none" strike="noStrike" dirty="0">
                          <a:effectLst/>
                        </a:rPr>
                        <a:t>Rechazadas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AUSTRALIAN BUNKERS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600" u="none" strike="noStrike" dirty="0">
                          <a:effectLst/>
                        </a:rPr>
                        <a:t>DELCOP COLOMBIA S.A.S.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EL RAYO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757750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SOCIEDAD PORTUARIA GENESIS 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910586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u="none" strike="noStrike" dirty="0">
                          <a:effectLst/>
                        </a:rPr>
                        <a:t>OINSAS.S.A</a:t>
                      </a:r>
                      <a:endParaRPr lang="es-CO" sz="1600" b="0" i="0" u="none" strike="noStrike" dirty="0">
                        <a:solidFill>
                          <a:srgbClr val="000000"/>
                        </a:solidFill>
                        <a:effectLst/>
                        <a:latin typeface="Candara" panose="020E0502030303020204" pitchFamily="34" charset="0"/>
                      </a:endParaRP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805133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IVERFUELS S.A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74717695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UERTO BELLO 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81198469"/>
                  </a:ext>
                </a:extLst>
              </a:tr>
            </a:tbl>
          </a:graphicData>
        </a:graphic>
      </p:graphicFrame>
      <p:graphicFrame>
        <p:nvGraphicFramePr>
          <p:cNvPr id="7" name="Tabla 6">
            <a:extLst>
              <a:ext uri="{FF2B5EF4-FFF2-40B4-BE49-F238E27FC236}">
                <a16:creationId xmlns:a16="http://schemas.microsoft.com/office/drawing/2014/main" id="{63ABAEF7-FA4D-46F9-ADEF-C0368CFF6AC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4409496"/>
              </p:ext>
            </p:extLst>
          </p:nvPr>
        </p:nvGraphicFramePr>
        <p:xfrm>
          <a:off x="4242498" y="2490471"/>
          <a:ext cx="3386570" cy="1396541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3386570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u="none" strike="noStrike" dirty="0">
                          <a:effectLst/>
                        </a:rPr>
                        <a:t>Con Observaciones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San Antero S.A.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uerto Solo – Pio S.A.S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Pisisi</a:t>
                      </a: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 S.A.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757750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Bita R.M. S.A.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32910586"/>
                  </a:ext>
                </a:extLst>
              </a:tr>
            </a:tbl>
          </a:graphicData>
        </a:graphic>
      </p:graphicFrame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FD4374A3-F9BD-433E-8BD5-90A554C36B7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4095140"/>
              </p:ext>
            </p:extLst>
          </p:nvPr>
        </p:nvGraphicFramePr>
        <p:xfrm>
          <a:off x="8130810" y="2760050"/>
          <a:ext cx="3386570" cy="1110747"/>
        </p:xfrm>
        <a:graphic>
          <a:graphicData uri="http://schemas.openxmlformats.org/drawingml/2006/table">
            <a:tbl>
              <a:tblPr>
                <a:tableStyleId>{BDBED569-4797-4DF1-A0F4-6AAB3CD982D8}</a:tableStyleId>
              </a:tblPr>
              <a:tblGrid>
                <a:gridCol w="3386570">
                  <a:extLst>
                    <a:ext uri="{9D8B030D-6E8A-4147-A177-3AD203B41FA5}">
                      <a16:colId xmlns:a16="http://schemas.microsoft.com/office/drawing/2014/main" val="1299965990"/>
                    </a:ext>
                  </a:extLst>
                </a:gridCol>
              </a:tblGrid>
              <a:tr h="23845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1600" b="1" u="none" strike="noStrike" dirty="0">
                          <a:effectLst/>
                        </a:rPr>
                        <a:t>Nuevas</a:t>
                      </a:r>
                      <a:endParaRPr lang="es-CO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73108939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Sociedad Portuaria Genesis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78417331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TGI, ENAGAS, INT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0490583"/>
                  </a:ext>
                </a:extLst>
              </a:tr>
              <a:tr h="285794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ndara" panose="020E0502030303020204" pitchFamily="34" charset="0"/>
                        </a:rPr>
                        <a:t>El Rayo</a:t>
                      </a:r>
                    </a:p>
                  </a:txBody>
                  <a:tcPr marL="9525" marR="9525" marT="9525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97577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175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heme/theme1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7</TotalTime>
  <Words>453</Words>
  <Application>Microsoft Office PowerPoint</Application>
  <PresentationFormat>Panorámica</PresentationFormat>
  <Paragraphs>101</Paragraphs>
  <Slides>8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9" baseType="lpstr">
      <vt:lpstr>Arial</vt:lpstr>
      <vt:lpstr>Calibri</vt:lpstr>
      <vt:lpstr>Calibri Light</vt:lpstr>
      <vt:lpstr>Candara</vt:lpstr>
      <vt:lpstr>Helvetica Neue Bold Condensed</vt:lpstr>
      <vt:lpstr>Impact</vt:lpstr>
      <vt:lpstr>Open Sans</vt:lpstr>
      <vt:lpstr>Verdana</vt:lpstr>
      <vt:lpstr>2_Tema de Office</vt:lpstr>
      <vt:lpstr>Office Theme</vt:lpstr>
      <vt:lpstr>think-cell Slide</vt:lpstr>
      <vt:lpstr>VICEPRESIDENCIA DE ESTRUCTURACION </vt:lpstr>
      <vt:lpstr>Presentación de PowerPoint</vt:lpstr>
      <vt:lpstr>Presentación de PowerPoint</vt:lpstr>
      <vt:lpstr>Presentación de PowerPoint</vt:lpstr>
      <vt:lpstr>Iniciativas que han iniciado trámites de aprobaciones en el Ministerio de Hacienda  y Crédito Publico  Modo Carretero - Aeroportuario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redor  IP Pereira – La Victoria, Cerritos – La Virginia</dc:title>
  <dc:creator>Juan Pablo Roa Rodriguez</dc:creator>
  <cp:lastModifiedBy>Ricardo Aguilera Wilches</cp:lastModifiedBy>
  <cp:revision>102</cp:revision>
  <cp:lastPrinted>2018-11-08T21:10:38Z</cp:lastPrinted>
  <dcterms:created xsi:type="dcterms:W3CDTF">2018-06-29T19:17:10Z</dcterms:created>
  <dcterms:modified xsi:type="dcterms:W3CDTF">2018-11-09T22:39:33Z</dcterms:modified>
</cp:coreProperties>
</file>